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4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5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3" r:id="rId4"/>
    <p:sldMasterId id="2147483699" r:id="rId5"/>
    <p:sldMasterId id="2147483729" r:id="rId6"/>
    <p:sldMasterId id="2147483759" r:id="rId7"/>
    <p:sldMasterId id="2147483789" r:id="rId8"/>
    <p:sldMasterId id="2147483819" r:id="rId9"/>
  </p:sldMasterIdLst>
  <p:notesMasterIdLst>
    <p:notesMasterId r:id="rId14"/>
  </p:notesMasterIdLst>
  <p:handoutMasterIdLst>
    <p:handoutMasterId r:id="rId15"/>
  </p:handoutMasterIdLst>
  <p:sldIdLst>
    <p:sldId id="742" r:id="rId10"/>
    <p:sldId id="743" r:id="rId11"/>
    <p:sldId id="744" r:id="rId12"/>
    <p:sldId id="342" r:id="rId13"/>
  </p:sldIdLst>
  <p:sldSz cx="12192000" cy="6858000"/>
  <p:notesSz cx="6797675" cy="9926638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35" userDrawn="1">
          <p15:clr>
            <a:srgbClr val="A4A3A4"/>
          </p15:clr>
        </p15:guide>
        <p15:guide id="4" pos="3727" userDrawn="1">
          <p15:clr>
            <a:srgbClr val="A4A3A4"/>
          </p15:clr>
        </p15:guide>
        <p15:guide id="5" pos="234" userDrawn="1">
          <p15:clr>
            <a:srgbClr val="A4A3A4"/>
          </p15:clr>
        </p15:guide>
        <p15:guide id="6" pos="3976" userDrawn="1">
          <p15:clr>
            <a:srgbClr val="A4A3A4"/>
          </p15:clr>
        </p15:guide>
        <p15:guide id="7" pos="7446" userDrawn="1">
          <p15:clr>
            <a:srgbClr val="A4A3A4"/>
          </p15:clr>
        </p15:guide>
        <p15:guide id="8" orient="horz" pos="3952" userDrawn="1">
          <p15:clr>
            <a:srgbClr val="A4A3A4"/>
          </p15:clr>
        </p15:guide>
        <p15:guide id="9" orient="horz" pos="32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vonne Jemal" initials="YJ" lastIdx="1" clrIdx="0">
    <p:extLst>
      <p:ext uri="{19B8F6BF-5375-455C-9EA6-DF929625EA0E}">
        <p15:presenceInfo xmlns:p15="http://schemas.microsoft.com/office/powerpoint/2012/main" userId="S::yvonne.jemal@lichtblick.de::622fc671-22f5-457f-9065-680bc9454cd9" providerId="AD"/>
      </p:ext>
    </p:extLst>
  </p:cmAuthor>
  <p:cmAuthor id="2" name="Bettina Hinken" initials="BH" lastIdx="4" clrIdx="1">
    <p:extLst>
      <p:ext uri="{19B8F6BF-5375-455C-9EA6-DF929625EA0E}">
        <p15:presenceInfo xmlns:p15="http://schemas.microsoft.com/office/powerpoint/2012/main" userId="S::bettina.hinken@lichtblick.de::9646a4b2-77c5-43ef-9712-d11c1d0cdbd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5050"/>
    <a:srgbClr val="008000"/>
    <a:srgbClr val="FBA533"/>
    <a:srgbClr val="FCBC67"/>
    <a:srgbClr val="33CC33"/>
    <a:srgbClr val="A5EDA1"/>
    <a:srgbClr val="000000"/>
    <a:srgbClr val="D1D1D1"/>
    <a:srgbClr val="7390A1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3" d="100"/>
          <a:sy n="113" d="100"/>
        </p:scale>
        <p:origin x="192" y="102"/>
      </p:cViewPr>
      <p:guideLst>
        <p:guide orient="horz" pos="935"/>
        <p:guide pos="3727"/>
        <p:guide pos="234"/>
        <p:guide pos="3976"/>
        <p:guide pos="7446"/>
        <p:guide orient="horz" pos="3952"/>
        <p:guide orient="horz" pos="320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1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uud Wijtvliet" userId="f269e1fc-1721-4a7b-893a-9a007a1a3fa4" providerId="ADAL" clId="{D9472662-1444-4DD6-8C69-F3968712F362}"/>
    <pc:docChg chg="custSel modSld">
      <pc:chgData name="Ruud Wijtvliet" userId="f269e1fc-1721-4a7b-893a-9a007a1a3fa4" providerId="ADAL" clId="{D9472662-1444-4DD6-8C69-F3968712F362}" dt="2021-12-14T18:25:09.107" v="759" actId="20577"/>
      <pc:docMkLst>
        <pc:docMk/>
      </pc:docMkLst>
      <pc:sldChg chg="modSp mod">
        <pc:chgData name="Ruud Wijtvliet" userId="f269e1fc-1721-4a7b-893a-9a007a1a3fa4" providerId="ADAL" clId="{D9472662-1444-4DD6-8C69-F3968712F362}" dt="2021-12-14T18:25:09.107" v="759" actId="20577"/>
        <pc:sldMkLst>
          <pc:docMk/>
          <pc:sldMk cId="2796724944" sldId="742"/>
        </pc:sldMkLst>
        <pc:spChg chg="mod">
          <ac:chgData name="Ruud Wijtvliet" userId="f269e1fc-1721-4a7b-893a-9a007a1a3fa4" providerId="ADAL" clId="{D9472662-1444-4DD6-8C69-F3968712F362}" dt="2021-12-14T18:25:05.998" v="753" actId="6549"/>
          <ac:spMkLst>
            <pc:docMk/>
            <pc:sldMk cId="2796724944" sldId="742"/>
            <ac:spMk id="4" creationId="{9EB2C8E0-C48E-41BA-B15A-7B21F2FFBC6F}"/>
          </ac:spMkLst>
        </pc:spChg>
        <pc:spChg chg="mod">
          <ac:chgData name="Ruud Wijtvliet" userId="f269e1fc-1721-4a7b-893a-9a007a1a3fa4" providerId="ADAL" clId="{D9472662-1444-4DD6-8C69-F3968712F362}" dt="2021-12-14T18:25:09.107" v="759" actId="20577"/>
          <ac:spMkLst>
            <pc:docMk/>
            <pc:sldMk cId="2796724944" sldId="742"/>
            <ac:spMk id="5" creationId="{AEDF66BC-5AD4-4E2A-827C-646F8D625EC8}"/>
          </ac:spMkLst>
        </pc:spChg>
      </pc:sldChg>
      <pc:sldChg chg="addSp delSp modSp mod">
        <pc:chgData name="Ruud Wijtvliet" userId="f269e1fc-1721-4a7b-893a-9a007a1a3fa4" providerId="ADAL" clId="{D9472662-1444-4DD6-8C69-F3968712F362}" dt="2021-12-14T18:24:59.492" v="751"/>
        <pc:sldMkLst>
          <pc:docMk/>
          <pc:sldMk cId="1940290106" sldId="744"/>
        </pc:sldMkLst>
        <pc:spChg chg="mod">
          <ac:chgData name="Ruud Wijtvliet" userId="f269e1fc-1721-4a7b-893a-9a007a1a3fa4" providerId="ADAL" clId="{D9472662-1444-4DD6-8C69-F3968712F362}" dt="2021-12-14T18:08:32.636" v="3" actId="20577"/>
          <ac:spMkLst>
            <pc:docMk/>
            <pc:sldMk cId="1940290106" sldId="744"/>
            <ac:spMk id="3" creationId="{D13F8F9A-CAC6-4C84-865B-80CE7419DAE2}"/>
          </ac:spMkLst>
        </pc:spChg>
        <pc:spChg chg="del mod">
          <ac:chgData name="Ruud Wijtvliet" userId="f269e1fc-1721-4a7b-893a-9a007a1a3fa4" providerId="ADAL" clId="{D9472662-1444-4DD6-8C69-F3968712F362}" dt="2021-12-14T18:24:59.492" v="751"/>
          <ac:spMkLst>
            <pc:docMk/>
            <pc:sldMk cId="1940290106" sldId="744"/>
            <ac:spMk id="8" creationId="{EE469F25-DA06-4118-9B15-4DEC3DA74821}"/>
          </ac:spMkLst>
        </pc:spChg>
        <pc:spChg chg="mod">
          <ac:chgData name="Ruud Wijtvliet" userId="f269e1fc-1721-4a7b-893a-9a007a1a3fa4" providerId="ADAL" clId="{D9472662-1444-4DD6-8C69-F3968712F362}" dt="2021-12-14T18:24:53.900" v="749" actId="14100"/>
          <ac:spMkLst>
            <pc:docMk/>
            <pc:sldMk cId="1940290106" sldId="744"/>
            <ac:spMk id="20" creationId="{852BA679-15C5-4D62-AE13-FA792CC308D3}"/>
          </ac:spMkLst>
        </pc:spChg>
        <pc:graphicFrameChg chg="del">
          <ac:chgData name="Ruud Wijtvliet" userId="f269e1fc-1721-4a7b-893a-9a007a1a3fa4" providerId="ADAL" clId="{D9472662-1444-4DD6-8C69-F3968712F362}" dt="2021-12-14T18:08:38.229" v="4" actId="478"/>
          <ac:graphicFrameMkLst>
            <pc:docMk/>
            <pc:sldMk cId="1940290106" sldId="744"/>
            <ac:graphicFrameMk id="11" creationId="{AF4DBFC2-8B31-443D-BF41-80BD23A33A0D}"/>
          </ac:graphicFrameMkLst>
        </pc:graphicFrameChg>
        <pc:graphicFrameChg chg="del mod">
          <ac:chgData name="Ruud Wijtvliet" userId="f269e1fc-1721-4a7b-893a-9a007a1a3fa4" providerId="ADAL" clId="{D9472662-1444-4DD6-8C69-F3968712F362}" dt="2021-12-14T18:09:51.843" v="7" actId="478"/>
          <ac:graphicFrameMkLst>
            <pc:docMk/>
            <pc:sldMk cId="1940290106" sldId="744"/>
            <ac:graphicFrameMk id="12" creationId="{BAF16DB9-635B-4F0F-971D-9CBDA2C93D12}"/>
          </ac:graphicFrameMkLst>
        </pc:graphicFrameChg>
        <pc:graphicFrameChg chg="add mod">
          <ac:chgData name="Ruud Wijtvliet" userId="f269e1fc-1721-4a7b-893a-9a007a1a3fa4" providerId="ADAL" clId="{D9472662-1444-4DD6-8C69-F3968712F362}" dt="2021-12-14T18:09:57.392" v="10"/>
          <ac:graphicFrameMkLst>
            <pc:docMk/>
            <pc:sldMk cId="1940290106" sldId="744"/>
            <ac:graphicFrameMk id="13" creationId="{B18E264E-AC7E-41B0-B09E-E385B316BE18}"/>
          </ac:graphicFrameMkLst>
        </pc:graphicFrameChg>
        <pc:graphicFrameChg chg="add mod">
          <ac:chgData name="Ruud Wijtvliet" userId="f269e1fc-1721-4a7b-893a-9a007a1a3fa4" providerId="ADAL" clId="{D9472662-1444-4DD6-8C69-F3968712F362}" dt="2021-12-14T18:10:08.710" v="22" actId="14100"/>
          <ac:graphicFrameMkLst>
            <pc:docMk/>
            <pc:sldMk cId="1940290106" sldId="744"/>
            <ac:graphicFrameMk id="14" creationId="{B18E264E-AC7E-41B0-B09E-E385B316BE18}"/>
          </ac:graphicFrameMkLst>
        </pc:graphicFrameChg>
        <pc:graphicFrameChg chg="add mod">
          <ac:chgData name="Ruud Wijtvliet" userId="f269e1fc-1721-4a7b-893a-9a007a1a3fa4" providerId="ADAL" clId="{D9472662-1444-4DD6-8C69-F3968712F362}" dt="2021-12-14T18:14:16.789" v="156"/>
          <ac:graphicFrameMkLst>
            <pc:docMk/>
            <pc:sldMk cId="1940290106" sldId="744"/>
            <ac:graphicFrameMk id="15" creationId="{B64A2DE0-8A92-41BE-8246-FBF2FEE62422}"/>
          </ac:graphicFrameMkLst>
        </pc:graphicFrameChg>
        <pc:graphicFrameChg chg="add mod">
          <ac:chgData name="Ruud Wijtvliet" userId="f269e1fc-1721-4a7b-893a-9a007a1a3fa4" providerId="ADAL" clId="{D9472662-1444-4DD6-8C69-F3968712F362}" dt="2021-12-14T18:14:22.610" v="160" actId="1076"/>
          <ac:graphicFrameMkLst>
            <pc:docMk/>
            <pc:sldMk cId="1940290106" sldId="744"/>
            <ac:graphicFrameMk id="16" creationId="{B64A2DE0-8A92-41BE-8246-FBF2FEE62422}"/>
          </ac:graphicFrameMkLst>
        </pc:graphicFrameChg>
        <pc:picChg chg="add del">
          <ac:chgData name="Ruud Wijtvliet" userId="f269e1fc-1721-4a7b-893a-9a007a1a3fa4" providerId="ADAL" clId="{D9472662-1444-4DD6-8C69-F3968712F362}" dt="2021-12-14T18:10:03.317" v="18"/>
          <ac:picMkLst>
            <pc:docMk/>
            <pc:sldMk cId="1940290106" sldId="744"/>
            <ac:picMk id="7" creationId="{A0494A93-64C4-495F-ACBD-27C969C9D661}"/>
          </ac:picMkLst>
        </pc:picChg>
      </pc:sldChg>
    </pc:docChg>
  </pc:docChgLst>
  <pc:docChgLst>
    <pc:chgData name="Ruud Wijtvliet" userId="f269e1fc-1721-4a7b-893a-9a007a1a3fa4" providerId="ADAL" clId="{20F2B350-5994-412D-BA65-CE0A80A41064}"/>
    <pc:docChg chg="modSld">
      <pc:chgData name="Ruud Wijtvliet" userId="f269e1fc-1721-4a7b-893a-9a007a1a3fa4" providerId="ADAL" clId="{20F2B350-5994-412D-BA65-CE0A80A41064}" dt="2022-01-12T13:33:27.517" v="1" actId="27918"/>
      <pc:docMkLst>
        <pc:docMk/>
      </pc:docMkLst>
      <pc:sldChg chg="mod">
        <pc:chgData name="Ruud Wijtvliet" userId="f269e1fc-1721-4a7b-893a-9a007a1a3fa4" providerId="ADAL" clId="{20F2B350-5994-412D-BA65-CE0A80A41064}" dt="2022-01-12T13:33:27.517" v="1" actId="27918"/>
        <pc:sldMkLst>
          <pc:docMk/>
          <pc:sldMk cId="2024248866" sldId="743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lichtblickit.sharepoint.com/sites/Austausch-FRM-Eneco-LB/Freigegebene%20Dokumente/General/Reporting/RC/2021%20M03/InFocus/210219_EFH%20Vebrauch%20seit%201990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ov: Temperatur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Nov Temperatures'!$C$5</c:f>
              <c:strCache>
                <c:ptCount val="1"/>
                <c:pt idx="0">
                  <c:v>actual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Nov Temperatures'!$B$6:$B$35</c:f>
              <c:numCache>
                <c:formatCode>m/d/yyyy</c:formatCode>
                <c:ptCount val="30"/>
                <c:pt idx="0">
                  <c:v>44501</c:v>
                </c:pt>
                <c:pt idx="1">
                  <c:v>44502</c:v>
                </c:pt>
                <c:pt idx="2">
                  <c:v>44503</c:v>
                </c:pt>
                <c:pt idx="3">
                  <c:v>44504</c:v>
                </c:pt>
                <c:pt idx="4">
                  <c:v>44505</c:v>
                </c:pt>
                <c:pt idx="5">
                  <c:v>44506</c:v>
                </c:pt>
                <c:pt idx="6">
                  <c:v>44507</c:v>
                </c:pt>
                <c:pt idx="7">
                  <c:v>44508</c:v>
                </c:pt>
                <c:pt idx="8">
                  <c:v>44509</c:v>
                </c:pt>
                <c:pt idx="9">
                  <c:v>44510</c:v>
                </c:pt>
                <c:pt idx="10">
                  <c:v>44511</c:v>
                </c:pt>
                <c:pt idx="11">
                  <c:v>44512</c:v>
                </c:pt>
                <c:pt idx="12">
                  <c:v>44513</c:v>
                </c:pt>
                <c:pt idx="13">
                  <c:v>44514</c:v>
                </c:pt>
                <c:pt idx="14">
                  <c:v>44515</c:v>
                </c:pt>
                <c:pt idx="15">
                  <c:v>44516</c:v>
                </c:pt>
                <c:pt idx="16">
                  <c:v>44517</c:v>
                </c:pt>
                <c:pt idx="17">
                  <c:v>44518</c:v>
                </c:pt>
                <c:pt idx="18">
                  <c:v>44519</c:v>
                </c:pt>
                <c:pt idx="19">
                  <c:v>44520</c:v>
                </c:pt>
                <c:pt idx="20">
                  <c:v>44521</c:v>
                </c:pt>
                <c:pt idx="21">
                  <c:v>44522</c:v>
                </c:pt>
                <c:pt idx="22">
                  <c:v>44523</c:v>
                </c:pt>
                <c:pt idx="23">
                  <c:v>44524</c:v>
                </c:pt>
                <c:pt idx="24">
                  <c:v>44525</c:v>
                </c:pt>
                <c:pt idx="25">
                  <c:v>44526</c:v>
                </c:pt>
                <c:pt idx="26">
                  <c:v>44527</c:v>
                </c:pt>
                <c:pt idx="27">
                  <c:v>44528</c:v>
                </c:pt>
                <c:pt idx="28">
                  <c:v>44529</c:v>
                </c:pt>
                <c:pt idx="29">
                  <c:v>44530</c:v>
                </c:pt>
              </c:numCache>
            </c:numRef>
          </c:cat>
          <c:val>
            <c:numRef>
              <c:f>'Nov Temperatures'!$C$6:$C$35</c:f>
              <c:numCache>
                <c:formatCode>General</c:formatCode>
                <c:ptCount val="30"/>
                <c:pt idx="0">
                  <c:v>8.9</c:v>
                </c:pt>
                <c:pt idx="1">
                  <c:v>7.5</c:v>
                </c:pt>
                <c:pt idx="2">
                  <c:v>5.8</c:v>
                </c:pt>
                <c:pt idx="3">
                  <c:v>6.3</c:v>
                </c:pt>
                <c:pt idx="4">
                  <c:v>6.4</c:v>
                </c:pt>
                <c:pt idx="5">
                  <c:v>6.7</c:v>
                </c:pt>
                <c:pt idx="6">
                  <c:v>7.3</c:v>
                </c:pt>
                <c:pt idx="7">
                  <c:v>6.5</c:v>
                </c:pt>
                <c:pt idx="8">
                  <c:v>5</c:v>
                </c:pt>
                <c:pt idx="9">
                  <c:v>3.5</c:v>
                </c:pt>
                <c:pt idx="10">
                  <c:v>4.0999999999999996</c:v>
                </c:pt>
                <c:pt idx="11">
                  <c:v>4.8</c:v>
                </c:pt>
                <c:pt idx="12">
                  <c:v>5.4</c:v>
                </c:pt>
                <c:pt idx="13">
                  <c:v>6.8</c:v>
                </c:pt>
                <c:pt idx="14">
                  <c:v>5.4</c:v>
                </c:pt>
                <c:pt idx="15">
                  <c:v>4.5999999999999996</c:v>
                </c:pt>
                <c:pt idx="16">
                  <c:v>5.0999999999999996</c:v>
                </c:pt>
                <c:pt idx="17">
                  <c:v>6.5</c:v>
                </c:pt>
                <c:pt idx="18">
                  <c:v>7.5</c:v>
                </c:pt>
                <c:pt idx="19">
                  <c:v>7.9</c:v>
                </c:pt>
                <c:pt idx="20">
                  <c:v>4.9000000000000004</c:v>
                </c:pt>
                <c:pt idx="21">
                  <c:v>3.5</c:v>
                </c:pt>
                <c:pt idx="22">
                  <c:v>3.2</c:v>
                </c:pt>
                <c:pt idx="23">
                  <c:v>3.1</c:v>
                </c:pt>
                <c:pt idx="24">
                  <c:v>2.1</c:v>
                </c:pt>
                <c:pt idx="25">
                  <c:v>1.8</c:v>
                </c:pt>
                <c:pt idx="26">
                  <c:v>2</c:v>
                </c:pt>
                <c:pt idx="27">
                  <c:v>1.1000000000000001</c:v>
                </c:pt>
                <c:pt idx="28">
                  <c:v>0.6</c:v>
                </c:pt>
                <c:pt idx="29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31B-492C-B716-BC8DBE195F4D}"/>
            </c:ext>
          </c:extLst>
        </c:ser>
        <c:ser>
          <c:idx val="1"/>
          <c:order val="1"/>
          <c:tx>
            <c:strRef>
              <c:f>'Nov Temperatures'!$D$5</c:f>
              <c:strCache>
                <c:ptCount val="1"/>
                <c:pt idx="0">
                  <c:v>norm</c:v>
                </c:pt>
              </c:strCache>
            </c:strRef>
          </c:tx>
          <c:spPr>
            <a:ln w="19050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numRef>
              <c:f>'Nov Temperatures'!$B$6:$B$35</c:f>
              <c:numCache>
                <c:formatCode>m/d/yyyy</c:formatCode>
                <c:ptCount val="30"/>
                <c:pt idx="0">
                  <c:v>44501</c:v>
                </c:pt>
                <c:pt idx="1">
                  <c:v>44502</c:v>
                </c:pt>
                <c:pt idx="2">
                  <c:v>44503</c:v>
                </c:pt>
                <c:pt idx="3">
                  <c:v>44504</c:v>
                </c:pt>
                <c:pt idx="4">
                  <c:v>44505</c:v>
                </c:pt>
                <c:pt idx="5">
                  <c:v>44506</c:v>
                </c:pt>
                <c:pt idx="6">
                  <c:v>44507</c:v>
                </c:pt>
                <c:pt idx="7">
                  <c:v>44508</c:v>
                </c:pt>
                <c:pt idx="8">
                  <c:v>44509</c:v>
                </c:pt>
                <c:pt idx="9">
                  <c:v>44510</c:v>
                </c:pt>
                <c:pt idx="10">
                  <c:v>44511</c:v>
                </c:pt>
                <c:pt idx="11">
                  <c:v>44512</c:v>
                </c:pt>
                <c:pt idx="12">
                  <c:v>44513</c:v>
                </c:pt>
                <c:pt idx="13">
                  <c:v>44514</c:v>
                </c:pt>
                <c:pt idx="14">
                  <c:v>44515</c:v>
                </c:pt>
                <c:pt idx="15">
                  <c:v>44516</c:v>
                </c:pt>
                <c:pt idx="16">
                  <c:v>44517</c:v>
                </c:pt>
                <c:pt idx="17">
                  <c:v>44518</c:v>
                </c:pt>
                <c:pt idx="18">
                  <c:v>44519</c:v>
                </c:pt>
                <c:pt idx="19">
                  <c:v>44520</c:v>
                </c:pt>
                <c:pt idx="20">
                  <c:v>44521</c:v>
                </c:pt>
                <c:pt idx="21">
                  <c:v>44522</c:v>
                </c:pt>
                <c:pt idx="22">
                  <c:v>44523</c:v>
                </c:pt>
                <c:pt idx="23">
                  <c:v>44524</c:v>
                </c:pt>
                <c:pt idx="24">
                  <c:v>44525</c:v>
                </c:pt>
                <c:pt idx="25">
                  <c:v>44526</c:v>
                </c:pt>
                <c:pt idx="26">
                  <c:v>44527</c:v>
                </c:pt>
                <c:pt idx="27">
                  <c:v>44528</c:v>
                </c:pt>
                <c:pt idx="28">
                  <c:v>44529</c:v>
                </c:pt>
                <c:pt idx="29">
                  <c:v>44530</c:v>
                </c:pt>
              </c:numCache>
            </c:numRef>
          </c:cat>
          <c:val>
            <c:numRef>
              <c:f>'Nov Temperatures'!$D$6:$D$35</c:f>
              <c:numCache>
                <c:formatCode>General</c:formatCode>
                <c:ptCount val="30"/>
                <c:pt idx="0">
                  <c:v>9.1999999999999993</c:v>
                </c:pt>
                <c:pt idx="1">
                  <c:v>7.8</c:v>
                </c:pt>
                <c:pt idx="2">
                  <c:v>7.3</c:v>
                </c:pt>
                <c:pt idx="3">
                  <c:v>8.6999999999999993</c:v>
                </c:pt>
                <c:pt idx="4">
                  <c:v>11.2</c:v>
                </c:pt>
                <c:pt idx="5">
                  <c:v>12.2</c:v>
                </c:pt>
                <c:pt idx="6">
                  <c:v>10.6</c:v>
                </c:pt>
                <c:pt idx="7">
                  <c:v>8.5</c:v>
                </c:pt>
                <c:pt idx="8">
                  <c:v>8.6</c:v>
                </c:pt>
                <c:pt idx="9">
                  <c:v>8.6999999999999993</c:v>
                </c:pt>
                <c:pt idx="10">
                  <c:v>9.3000000000000007</c:v>
                </c:pt>
                <c:pt idx="11">
                  <c:v>9.6999999999999993</c:v>
                </c:pt>
                <c:pt idx="12">
                  <c:v>8.4</c:v>
                </c:pt>
                <c:pt idx="13">
                  <c:v>6.6</c:v>
                </c:pt>
                <c:pt idx="14">
                  <c:v>4.5</c:v>
                </c:pt>
                <c:pt idx="15">
                  <c:v>4.5999999999999996</c:v>
                </c:pt>
                <c:pt idx="16">
                  <c:v>2.9</c:v>
                </c:pt>
                <c:pt idx="17">
                  <c:v>2.1</c:v>
                </c:pt>
                <c:pt idx="18">
                  <c:v>2</c:v>
                </c:pt>
                <c:pt idx="19">
                  <c:v>1.8</c:v>
                </c:pt>
                <c:pt idx="20">
                  <c:v>1.4</c:v>
                </c:pt>
                <c:pt idx="21">
                  <c:v>1.9</c:v>
                </c:pt>
                <c:pt idx="22">
                  <c:v>1.9</c:v>
                </c:pt>
                <c:pt idx="23">
                  <c:v>2.7</c:v>
                </c:pt>
                <c:pt idx="24">
                  <c:v>3.6</c:v>
                </c:pt>
                <c:pt idx="25">
                  <c:v>2.8</c:v>
                </c:pt>
                <c:pt idx="26">
                  <c:v>0.4</c:v>
                </c:pt>
                <c:pt idx="27">
                  <c:v>-0.4</c:v>
                </c:pt>
                <c:pt idx="28">
                  <c:v>0.3</c:v>
                </c:pt>
                <c:pt idx="29">
                  <c:v>1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31B-492C-B716-BC8DBE195F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95764064"/>
        <c:axId val="1995762816"/>
      </c:lineChart>
      <c:dateAx>
        <c:axId val="199576406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5762816"/>
        <c:crosses val="autoZero"/>
        <c:auto val="1"/>
        <c:lblOffset val="100"/>
        <c:baseTimeUnit val="days"/>
      </c:dateAx>
      <c:valAx>
        <c:axId val="19957628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degC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5764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ower B2C_P2H: December volum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_name!$J$1</c:f>
              <c:strCache>
                <c:ptCount val="1"/>
                <c:pt idx="0">
                  <c:v>Forward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_name!$K$5:$K$35</c:f>
              <c:numCache>
                <c:formatCode>General</c:formatCode>
                <c:ptCount val="31"/>
                <c:pt idx="0">
                  <c:v>7002.0710000000008</c:v>
                </c:pt>
                <c:pt idx="1">
                  <c:v>6996.6600000000053</c:v>
                </c:pt>
                <c:pt idx="2">
                  <c:v>7176.9290000000019</c:v>
                </c:pt>
                <c:pt idx="3">
                  <c:v>7984.6370000000088</c:v>
                </c:pt>
                <c:pt idx="4">
                  <c:v>7896.6210000000056</c:v>
                </c:pt>
                <c:pt idx="5">
                  <c:v>6887.6829999999954</c:v>
                </c:pt>
                <c:pt idx="6">
                  <c:v>6837.7049999999972</c:v>
                </c:pt>
                <c:pt idx="7">
                  <c:v>6849.7240000000011</c:v>
                </c:pt>
                <c:pt idx="8">
                  <c:v>6850.2120000000004</c:v>
                </c:pt>
                <c:pt idx="9">
                  <c:v>6853.0649999999987</c:v>
                </c:pt>
                <c:pt idx="10">
                  <c:v>7709.1360000000004</c:v>
                </c:pt>
                <c:pt idx="11">
                  <c:v>7633.9319999999998</c:v>
                </c:pt>
                <c:pt idx="12">
                  <c:v>7039.5779999999959</c:v>
                </c:pt>
                <c:pt idx="13">
                  <c:v>7169.9620000000068</c:v>
                </c:pt>
                <c:pt idx="14">
                  <c:v>7104.8330000000014</c:v>
                </c:pt>
                <c:pt idx="15">
                  <c:v>7058.299</c:v>
                </c:pt>
                <c:pt idx="16">
                  <c:v>7088.7229999999981</c:v>
                </c:pt>
                <c:pt idx="17">
                  <c:v>7797.3259999999973</c:v>
                </c:pt>
                <c:pt idx="18">
                  <c:v>7747.5290000000086</c:v>
                </c:pt>
                <c:pt idx="19">
                  <c:v>7241.052999999999</c:v>
                </c:pt>
                <c:pt idx="20">
                  <c:v>7292.3540000000012</c:v>
                </c:pt>
                <c:pt idx="21">
                  <c:v>6825.2770000000037</c:v>
                </c:pt>
                <c:pt idx="22">
                  <c:v>6516.3350000000091</c:v>
                </c:pt>
                <c:pt idx="23">
                  <c:v>6496.6300000000019</c:v>
                </c:pt>
                <c:pt idx="24">
                  <c:v>7370.0549999999948</c:v>
                </c:pt>
                <c:pt idx="25">
                  <c:v>7466.448999999996</c:v>
                </c:pt>
                <c:pt idx="26">
                  <c:v>6932.5250000000042</c:v>
                </c:pt>
                <c:pt idx="27">
                  <c:v>7176.4179999999978</c:v>
                </c:pt>
                <c:pt idx="28">
                  <c:v>7275.978000000001</c:v>
                </c:pt>
                <c:pt idx="29">
                  <c:v>7486.023000000002</c:v>
                </c:pt>
                <c:pt idx="30">
                  <c:v>7469.76999999999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8F-4C42-82F7-6DDE9AF41D22}"/>
            </c:ext>
          </c:extLst>
        </c:ser>
        <c:ser>
          <c:idx val="1"/>
          <c:order val="1"/>
          <c:tx>
            <c:strRef>
              <c:f>sheet_name!$N$1</c:f>
              <c:strCache>
                <c:ptCount val="1"/>
                <c:pt idx="0">
                  <c:v>Spot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_name!$O$5:$O$35</c:f>
              <c:numCache>
                <c:formatCode>General</c:formatCode>
                <c:ptCount val="31"/>
                <c:pt idx="0">
                  <c:v>-154.20475000000079</c:v>
                </c:pt>
                <c:pt idx="1">
                  <c:v>217.2522499999977</c:v>
                </c:pt>
                <c:pt idx="2">
                  <c:v>894.44349999999758</c:v>
                </c:pt>
                <c:pt idx="3">
                  <c:v>7.1979999999894062</c:v>
                </c:pt>
                <c:pt idx="4">
                  <c:v>229.2707499999951</c:v>
                </c:pt>
                <c:pt idx="5">
                  <c:v>1741.5967500000111</c:v>
                </c:pt>
                <c:pt idx="6">
                  <c:v>1864.4999999999991</c:v>
                </c:pt>
                <c:pt idx="7">
                  <c:v>1986.0225000000021</c:v>
                </c:pt>
                <c:pt idx="8">
                  <c:v>1866.235499999998</c:v>
                </c:pt>
                <c:pt idx="9">
                  <c:v>1955.244250000002</c:v>
                </c:pt>
                <c:pt idx="10">
                  <c:v>1183.0417500000001</c:v>
                </c:pt>
                <c:pt idx="11">
                  <c:v>508.26374999999922</c:v>
                </c:pt>
                <c:pt idx="12">
                  <c:v>-21.90724999999566</c:v>
                </c:pt>
                <c:pt idx="13">
                  <c:v>-439.97975000000679</c:v>
                </c:pt>
                <c:pt idx="14">
                  <c:v>-650.81325000000015</c:v>
                </c:pt>
                <c:pt idx="15">
                  <c:v>-527.22274999999718</c:v>
                </c:pt>
                <c:pt idx="16">
                  <c:v>-281.18399999999752</c:v>
                </c:pt>
                <c:pt idx="17">
                  <c:v>-286.95974999999271</c:v>
                </c:pt>
                <c:pt idx="18">
                  <c:v>187.11474999999251</c:v>
                </c:pt>
                <c:pt idx="19">
                  <c:v>967.8992500000013</c:v>
                </c:pt>
                <c:pt idx="20">
                  <c:v>1097.0450000000019</c:v>
                </c:pt>
                <c:pt idx="21">
                  <c:v>1701.2594999999981</c:v>
                </c:pt>
                <c:pt idx="22">
                  <c:v>2115.7704999999919</c:v>
                </c:pt>
                <c:pt idx="23">
                  <c:v>1123.680250000001</c:v>
                </c:pt>
                <c:pt idx="24">
                  <c:v>-81.254999999991014</c:v>
                </c:pt>
                <c:pt idx="25">
                  <c:v>737.67925000000196</c:v>
                </c:pt>
                <c:pt idx="26">
                  <c:v>2601.5622499999931</c:v>
                </c:pt>
                <c:pt idx="27">
                  <c:v>3415.730750000002</c:v>
                </c:pt>
                <c:pt idx="28">
                  <c:v>3846.1035000000079</c:v>
                </c:pt>
                <c:pt idx="29">
                  <c:v>3368.871999999993</c:v>
                </c:pt>
                <c:pt idx="30">
                  <c:v>2544.583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8F-4C42-82F7-6DDE9AF41D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100"/>
        <c:axId val="1099546240"/>
        <c:axId val="1099551232"/>
      </c:barChart>
      <c:lineChart>
        <c:grouping val="standard"/>
        <c:varyColors val="0"/>
        <c:ser>
          <c:idx val="2"/>
          <c:order val="2"/>
          <c:tx>
            <c:strRef>
              <c:f>sheet_name!$B$1</c:f>
              <c:strCache>
                <c:ptCount val="1"/>
                <c:pt idx="0">
                  <c:v>offtake</c:v>
                </c:pt>
              </c:strCache>
            </c:strRef>
          </c:tx>
          <c:spPr>
            <a:ln w="28575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sheet_name!$G$5:$G$35</c:f>
              <c:numCache>
                <c:formatCode>General</c:formatCode>
                <c:ptCount val="31"/>
                <c:pt idx="0">
                  <c:v>6847.86625</c:v>
                </c:pt>
                <c:pt idx="1">
                  <c:v>7213.912250000003</c:v>
                </c:pt>
                <c:pt idx="2">
                  <c:v>8071.3724999999986</c:v>
                </c:pt>
                <c:pt idx="3">
                  <c:v>7991.8349999999982</c:v>
                </c:pt>
                <c:pt idx="4">
                  <c:v>8125.8917500000016</c:v>
                </c:pt>
                <c:pt idx="5">
                  <c:v>8629.2797500000052</c:v>
                </c:pt>
                <c:pt idx="6">
                  <c:v>8702.2049999999963</c:v>
                </c:pt>
                <c:pt idx="7">
                  <c:v>8835.7465000000029</c:v>
                </c:pt>
                <c:pt idx="8">
                  <c:v>8716.4474999999984</c:v>
                </c:pt>
                <c:pt idx="9">
                  <c:v>8808.3092500000002</c:v>
                </c:pt>
                <c:pt idx="10">
                  <c:v>8892.1777500000007</c:v>
                </c:pt>
                <c:pt idx="11">
                  <c:v>8142.195749999999</c:v>
                </c:pt>
                <c:pt idx="12">
                  <c:v>7017.6707500000002</c:v>
                </c:pt>
                <c:pt idx="13">
                  <c:v>6729.98225</c:v>
                </c:pt>
                <c:pt idx="14">
                  <c:v>6454.0197500000004</c:v>
                </c:pt>
                <c:pt idx="15">
                  <c:v>6531.0762500000028</c:v>
                </c:pt>
                <c:pt idx="16">
                  <c:v>6807.5390000000007</c:v>
                </c:pt>
                <c:pt idx="17">
                  <c:v>7510.3662500000046</c:v>
                </c:pt>
                <c:pt idx="18">
                  <c:v>7934.6437500000011</c:v>
                </c:pt>
                <c:pt idx="19">
                  <c:v>8208.9522500000003</c:v>
                </c:pt>
                <c:pt idx="20">
                  <c:v>8389.3990000000031</c:v>
                </c:pt>
                <c:pt idx="21">
                  <c:v>8526.536500000002</c:v>
                </c:pt>
                <c:pt idx="22">
                  <c:v>8632.1055000000015</c:v>
                </c:pt>
                <c:pt idx="23">
                  <c:v>7620.3102500000032</c:v>
                </c:pt>
                <c:pt idx="24">
                  <c:v>7288.8000000000038</c:v>
                </c:pt>
                <c:pt idx="25">
                  <c:v>8204.1282499999979</c:v>
                </c:pt>
                <c:pt idx="26">
                  <c:v>9534.0872499999969</c:v>
                </c:pt>
                <c:pt idx="27">
                  <c:v>10592.14875</c:v>
                </c:pt>
                <c:pt idx="28">
                  <c:v>11122.081500000009</c:v>
                </c:pt>
                <c:pt idx="29">
                  <c:v>10854.89499999999</c:v>
                </c:pt>
                <c:pt idx="30">
                  <c:v>10014.352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38F-4C42-82F7-6DDE9AF41D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99546240"/>
        <c:axId val="1099551232"/>
      </c:lineChart>
      <c:catAx>
        <c:axId val="109954624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51232"/>
        <c:crosses val="autoZero"/>
        <c:auto val="1"/>
        <c:lblAlgn val="ctr"/>
        <c:lblOffset val="100"/>
        <c:noMultiLvlLbl val="0"/>
      </c:catAx>
      <c:valAx>
        <c:axId val="1099551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46240"/>
        <c:crosses val="autoZero"/>
        <c:crossBetween val="between"/>
        <c:dispUnits>
          <c:builtInUnit val="thousand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/>
                    <a:t>GWh/day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ower B2C_P2H: December prices</a:t>
            </a:r>
          </a:p>
        </c:rich>
      </c:tx>
      <c:layout>
        <c:manualLayout>
          <c:xMode val="edge"/>
          <c:yMode val="edge"/>
          <c:x val="0.22206933508311461"/>
          <c:y val="2.31481481481481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_name!$F$1</c:f>
              <c:strCache>
                <c:ptCount val="1"/>
                <c:pt idx="0">
                  <c:v>Sourcing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_name!$H$5:$H$35</c:f>
              <c:numCache>
                <c:formatCode>General</c:formatCode>
                <c:ptCount val="31"/>
                <c:pt idx="0">
                  <c:v>50.04715568433685</c:v>
                </c:pt>
                <c:pt idx="1">
                  <c:v>43.306458452881621</c:v>
                </c:pt>
                <c:pt idx="2">
                  <c:v>59.115748096533721</c:v>
                </c:pt>
                <c:pt idx="3">
                  <c:v>37.893660419630258</c:v>
                </c:pt>
                <c:pt idx="4">
                  <c:v>38.76799387449153</c:v>
                </c:pt>
                <c:pt idx="5">
                  <c:v>78.757060427128422</c:v>
                </c:pt>
                <c:pt idx="6">
                  <c:v>72.091748194740404</c:v>
                </c:pt>
                <c:pt idx="7">
                  <c:v>68.231825781006819</c:v>
                </c:pt>
                <c:pt idx="8">
                  <c:v>85.873523920922892</c:v>
                </c:pt>
                <c:pt idx="9">
                  <c:v>82.335474144877722</c:v>
                </c:pt>
                <c:pt idx="10">
                  <c:v>63.524728843417172</c:v>
                </c:pt>
                <c:pt idx="11">
                  <c:v>45.291710647742157</c:v>
                </c:pt>
                <c:pt idx="12">
                  <c:v>43.688863036755102</c:v>
                </c:pt>
                <c:pt idx="13">
                  <c:v>34.830228888588401</c:v>
                </c:pt>
                <c:pt idx="14">
                  <c:v>25.428736929427469</c:v>
                </c:pt>
                <c:pt idx="15">
                  <c:v>29.251938791539551</c:v>
                </c:pt>
                <c:pt idx="16">
                  <c:v>37.070157853159571</c:v>
                </c:pt>
                <c:pt idx="17">
                  <c:v>36.940948457240133</c:v>
                </c:pt>
                <c:pt idx="18">
                  <c:v>46.91068451465047</c:v>
                </c:pt>
                <c:pt idx="19">
                  <c:v>71.069464632152474</c:v>
                </c:pt>
                <c:pt idx="20">
                  <c:v>69.942879587220418</c:v>
                </c:pt>
                <c:pt idx="21">
                  <c:v>85.685049811835171</c:v>
                </c:pt>
                <c:pt idx="22">
                  <c:v>98.151643441048506</c:v>
                </c:pt>
                <c:pt idx="23">
                  <c:v>66.712161192438117</c:v>
                </c:pt>
                <c:pt idx="24">
                  <c:v>33.958549948299648</c:v>
                </c:pt>
                <c:pt idx="25">
                  <c:v>43.079109809271579</c:v>
                </c:pt>
                <c:pt idx="26">
                  <c:v>98.275289122263018</c:v>
                </c:pt>
                <c:pt idx="27">
                  <c:v>112.5593292289056</c:v>
                </c:pt>
                <c:pt idx="28">
                  <c:v>118.1737789474642</c:v>
                </c:pt>
                <c:pt idx="29">
                  <c:v>111.5073792698448</c:v>
                </c:pt>
                <c:pt idx="30">
                  <c:v>90.9536406840207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D6-4159-B084-3E0E131343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100"/>
        <c:axId val="1099546240"/>
        <c:axId val="1099551232"/>
      </c:barChart>
      <c:lineChart>
        <c:grouping val="standard"/>
        <c:varyColors val="0"/>
        <c:ser>
          <c:idx val="2"/>
          <c:order val="1"/>
          <c:tx>
            <c:strRef>
              <c:f>sheet_name!$D$2</c:f>
              <c:strCache>
                <c:ptCount val="1"/>
                <c:pt idx="0">
                  <c:v>Tariff</c:v>
                </c:pt>
              </c:strCache>
            </c:strRef>
          </c:tx>
          <c:spPr>
            <a:ln w="28575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sheet_name!$D$5:$D$35</c:f>
              <c:numCache>
                <c:formatCode>General</c:formatCode>
                <c:ptCount val="31"/>
                <c:pt idx="0">
                  <c:v>40.51</c:v>
                </c:pt>
                <c:pt idx="1">
                  <c:v>40.51</c:v>
                </c:pt>
                <c:pt idx="2">
                  <c:v>40.51</c:v>
                </c:pt>
                <c:pt idx="3">
                  <c:v>40.51</c:v>
                </c:pt>
                <c:pt idx="4">
                  <c:v>40.51</c:v>
                </c:pt>
                <c:pt idx="5">
                  <c:v>40.51</c:v>
                </c:pt>
                <c:pt idx="6">
                  <c:v>40.51</c:v>
                </c:pt>
                <c:pt idx="7">
                  <c:v>40.51</c:v>
                </c:pt>
                <c:pt idx="8">
                  <c:v>40.51</c:v>
                </c:pt>
                <c:pt idx="9">
                  <c:v>40.51</c:v>
                </c:pt>
                <c:pt idx="10">
                  <c:v>40.51</c:v>
                </c:pt>
                <c:pt idx="11">
                  <c:v>40.51</c:v>
                </c:pt>
                <c:pt idx="12">
                  <c:v>40.51</c:v>
                </c:pt>
                <c:pt idx="13">
                  <c:v>40.51</c:v>
                </c:pt>
                <c:pt idx="14">
                  <c:v>40.51</c:v>
                </c:pt>
                <c:pt idx="15">
                  <c:v>40.51</c:v>
                </c:pt>
                <c:pt idx="16">
                  <c:v>40.51</c:v>
                </c:pt>
                <c:pt idx="17">
                  <c:v>40.51</c:v>
                </c:pt>
                <c:pt idx="18">
                  <c:v>40.51</c:v>
                </c:pt>
                <c:pt idx="19">
                  <c:v>40.51</c:v>
                </c:pt>
                <c:pt idx="20">
                  <c:v>40.51</c:v>
                </c:pt>
                <c:pt idx="21">
                  <c:v>40.51</c:v>
                </c:pt>
                <c:pt idx="22">
                  <c:v>40.51</c:v>
                </c:pt>
                <c:pt idx="23">
                  <c:v>40.51</c:v>
                </c:pt>
                <c:pt idx="24">
                  <c:v>40.51</c:v>
                </c:pt>
                <c:pt idx="25">
                  <c:v>40.51</c:v>
                </c:pt>
                <c:pt idx="26">
                  <c:v>40.51</c:v>
                </c:pt>
                <c:pt idx="27">
                  <c:v>40.51</c:v>
                </c:pt>
                <c:pt idx="28">
                  <c:v>40.51</c:v>
                </c:pt>
                <c:pt idx="29">
                  <c:v>40.51</c:v>
                </c:pt>
                <c:pt idx="30">
                  <c:v>40.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1D6-4159-B084-3E0E131343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99546240"/>
        <c:axId val="1099551232"/>
      </c:lineChart>
      <c:catAx>
        <c:axId val="109954624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51232"/>
        <c:crosses val="autoZero"/>
        <c:auto val="1"/>
        <c:lblAlgn val="ctr"/>
        <c:lblOffset val="100"/>
        <c:noMultiLvlLbl val="0"/>
      </c:catAx>
      <c:valAx>
        <c:axId val="1099551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ur/MW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46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400" b="0" i="0" u="none" strike="noStrike" baseline="0">
                <a:effectLst/>
              </a:rPr>
              <a:t>Typical consumption and volume used in hedge</a:t>
            </a:r>
            <a:endParaRPr lang="de-DE" baseline="0"/>
          </a:p>
        </c:rich>
      </c:tx>
      <c:layout>
        <c:manualLayout>
          <c:xMode val="edge"/>
          <c:yMode val="edge"/>
          <c:x val="0.16677298411823052"/>
          <c:y val="4.11810420208758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1241711827020267E-2"/>
          <c:y val="8.3961501729163848E-2"/>
          <c:w val="0.60388491766086716"/>
          <c:h val="0.823285182231503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2</c:f>
              <c:strCache>
                <c:ptCount val="1"/>
                <c:pt idx="0">
                  <c:v>consumption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numRef>
              <c:f>Tabelle1!$A$3:$A$33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Tabelle1!$B$3:$B$33</c:f>
              <c:numCache>
                <c:formatCode>#,##0.0</c:formatCode>
                <c:ptCount val="31"/>
                <c:pt idx="0">
                  <c:v>17.268960884112314</c:v>
                </c:pt>
                <c:pt idx="1">
                  <c:v>19.925795089002065</c:v>
                </c:pt>
                <c:pt idx="2">
                  <c:v>19.030709221854359</c:v>
                </c:pt>
                <c:pt idx="3">
                  <c:v>20.072514847548494</c:v>
                </c:pt>
                <c:pt idx="4">
                  <c:v>18.431737757712909</c:v>
                </c:pt>
                <c:pt idx="5">
                  <c:v>20.108575290674796</c:v>
                </c:pt>
                <c:pt idx="6">
                  <c:v>23.024351735069924</c:v>
                </c:pt>
                <c:pt idx="7">
                  <c:v>19.800666580737481</c:v>
                </c:pt>
                <c:pt idx="8">
                  <c:v>18.71428291531355</c:v>
                </c:pt>
                <c:pt idx="9">
                  <c:v>17.864016565431459</c:v>
                </c:pt>
                <c:pt idx="10">
                  <c:v>17.014546521928814</c:v>
                </c:pt>
                <c:pt idx="11">
                  <c:v>19.503138531075376</c:v>
                </c:pt>
                <c:pt idx="12">
                  <c:v>18.683523915949966</c:v>
                </c:pt>
                <c:pt idx="13">
                  <c:v>19.4218056948929</c:v>
                </c:pt>
                <c:pt idx="14">
                  <c:v>19.043619007042114</c:v>
                </c:pt>
                <c:pt idx="15">
                  <c:v>19.021492278720533</c:v>
                </c:pt>
                <c:pt idx="16">
                  <c:v>18.447730272370475</c:v>
                </c:pt>
                <c:pt idx="17">
                  <c:v>16.748665562167947</c:v>
                </c:pt>
                <c:pt idx="18">
                  <c:v>17.47848655534353</c:v>
                </c:pt>
                <c:pt idx="19">
                  <c:v>18.762543599586873</c:v>
                </c:pt>
                <c:pt idx="20">
                  <c:v>21.803946037813972</c:v>
                </c:pt>
                <c:pt idx="21">
                  <c:v>17.675684359204332</c:v>
                </c:pt>
                <c:pt idx="22">
                  <c:v>18.728871495676032</c:v>
                </c:pt>
                <c:pt idx="23">
                  <c:v>19.587208917382341</c:v>
                </c:pt>
                <c:pt idx="24">
                  <c:v>15.847688445651107</c:v>
                </c:pt>
                <c:pt idx="25">
                  <c:v>16.595111533049369</c:v>
                </c:pt>
                <c:pt idx="26">
                  <c:v>18.062759885883469</c:v>
                </c:pt>
                <c:pt idx="27">
                  <c:v>17.697809653823942</c:v>
                </c:pt>
                <c:pt idx="28">
                  <c:v>17.109226972005345</c:v>
                </c:pt>
                <c:pt idx="29">
                  <c:v>16.240986154215829</c:v>
                </c:pt>
                <c:pt idx="30">
                  <c:v>16.0186192156729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E0-469C-950F-62750230FA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1185197008"/>
        <c:axId val="1185195040"/>
      </c:barChart>
      <c:lineChart>
        <c:grouping val="standard"/>
        <c:varyColors val="0"/>
        <c:ser>
          <c:idx val="1"/>
          <c:order val="1"/>
          <c:tx>
            <c:strRef>
              <c:f>Tabelle1!$C$2</c:f>
              <c:strCache>
                <c:ptCount val="1"/>
                <c:pt idx="0">
                  <c:v>mean 1990-2020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numRef>
              <c:f>Tabelle1!$A$3:$A$33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Tabelle1!$C$3:$C$33</c:f>
              <c:numCache>
                <c:formatCode>#,##0.0</c:formatCode>
                <c:ptCount val="31"/>
                <c:pt idx="0">
                  <c:v>18.507583080545633</c:v>
                </c:pt>
                <c:pt idx="1">
                  <c:v>18.507583080545633</c:v>
                </c:pt>
                <c:pt idx="2">
                  <c:v>18.507583080545633</c:v>
                </c:pt>
                <c:pt idx="3">
                  <c:v>18.507583080545633</c:v>
                </c:pt>
                <c:pt idx="4">
                  <c:v>18.507583080545633</c:v>
                </c:pt>
                <c:pt idx="5">
                  <c:v>18.507583080545633</c:v>
                </c:pt>
                <c:pt idx="6">
                  <c:v>18.507583080545633</c:v>
                </c:pt>
                <c:pt idx="7">
                  <c:v>18.507583080545633</c:v>
                </c:pt>
                <c:pt idx="8">
                  <c:v>18.507583080545633</c:v>
                </c:pt>
                <c:pt idx="9">
                  <c:v>18.507583080545633</c:v>
                </c:pt>
                <c:pt idx="10">
                  <c:v>18.507583080545633</c:v>
                </c:pt>
                <c:pt idx="11">
                  <c:v>18.507583080545633</c:v>
                </c:pt>
                <c:pt idx="12">
                  <c:v>18.507583080545633</c:v>
                </c:pt>
                <c:pt idx="13">
                  <c:v>18.507583080545633</c:v>
                </c:pt>
                <c:pt idx="14">
                  <c:v>18.507583080545633</c:v>
                </c:pt>
                <c:pt idx="15">
                  <c:v>18.507583080545633</c:v>
                </c:pt>
                <c:pt idx="16">
                  <c:v>18.507583080545633</c:v>
                </c:pt>
                <c:pt idx="17">
                  <c:v>18.507583080545633</c:v>
                </c:pt>
                <c:pt idx="18">
                  <c:v>18.507583080545633</c:v>
                </c:pt>
                <c:pt idx="19">
                  <c:v>18.507583080545633</c:v>
                </c:pt>
                <c:pt idx="20">
                  <c:v>18.507583080545633</c:v>
                </c:pt>
                <c:pt idx="21">
                  <c:v>18.507583080545633</c:v>
                </c:pt>
                <c:pt idx="22">
                  <c:v>18.507583080545633</c:v>
                </c:pt>
                <c:pt idx="23">
                  <c:v>18.507583080545633</c:v>
                </c:pt>
                <c:pt idx="24">
                  <c:v>18.507583080545633</c:v>
                </c:pt>
                <c:pt idx="25">
                  <c:v>18.507583080545633</c:v>
                </c:pt>
                <c:pt idx="26">
                  <c:v>18.507583080545633</c:v>
                </c:pt>
                <c:pt idx="27">
                  <c:v>18.507583080545633</c:v>
                </c:pt>
                <c:pt idx="28">
                  <c:v>18.507583080545633</c:v>
                </c:pt>
                <c:pt idx="29">
                  <c:v>18.507583080545633</c:v>
                </c:pt>
                <c:pt idx="30">
                  <c:v>18.5075830805456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E0-469C-950F-62750230FAC0}"/>
            </c:ext>
          </c:extLst>
        </c:ser>
        <c:ser>
          <c:idx val="2"/>
          <c:order val="2"/>
          <c:tx>
            <c:strRef>
              <c:f>Tabelle1!$D$2</c:f>
              <c:strCache>
                <c:ptCount val="1"/>
                <c:pt idx="0">
                  <c:v>currently: mean 2005-2019 (15y)</c:v>
                </c:pt>
              </c:strCache>
            </c:strRef>
          </c:tx>
          <c:spPr>
            <a:ln w="28575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Tabelle1!$A$3:$A$33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Tabelle1!$D$3:$D$33</c:f>
              <c:numCache>
                <c:formatCode>General</c:formatCode>
                <c:ptCount val="31"/>
                <c:pt idx="15" formatCode="#,##0.0">
                  <c:v>17.987214114859672</c:v>
                </c:pt>
                <c:pt idx="16" formatCode="#,##0.0">
                  <c:v>17.987214114859672</c:v>
                </c:pt>
                <c:pt idx="17" formatCode="#,##0.0">
                  <c:v>17.987214114859672</c:v>
                </c:pt>
                <c:pt idx="18" formatCode="#,##0.0">
                  <c:v>17.987214114859672</c:v>
                </c:pt>
                <c:pt idx="19" formatCode="#,##0.0">
                  <c:v>17.987214114859672</c:v>
                </c:pt>
                <c:pt idx="20" formatCode="#,##0.0">
                  <c:v>17.987214114859672</c:v>
                </c:pt>
                <c:pt idx="21" formatCode="#,##0.0">
                  <c:v>17.987214114859672</c:v>
                </c:pt>
                <c:pt idx="22" formatCode="#,##0.0">
                  <c:v>17.987214114859672</c:v>
                </c:pt>
                <c:pt idx="23" formatCode="#,##0.0">
                  <c:v>17.987214114859672</c:v>
                </c:pt>
                <c:pt idx="24" formatCode="#,##0.0">
                  <c:v>17.987214114859672</c:v>
                </c:pt>
                <c:pt idx="25" formatCode="#,##0.0">
                  <c:v>17.987214114859672</c:v>
                </c:pt>
                <c:pt idx="26" formatCode="#,##0.0">
                  <c:v>17.987214114859672</c:v>
                </c:pt>
                <c:pt idx="27" formatCode="#,##0.0">
                  <c:v>17.987214114859672</c:v>
                </c:pt>
                <c:pt idx="28" formatCode="#,##0.0">
                  <c:v>17.987214114859672</c:v>
                </c:pt>
                <c:pt idx="29" formatCode="#,##0.0">
                  <c:v>17.9872141148596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69E0-469C-950F-62750230FAC0}"/>
            </c:ext>
          </c:extLst>
        </c:ser>
        <c:ser>
          <c:idx val="3"/>
          <c:order val="3"/>
          <c:tx>
            <c:strRef>
              <c:f>Tabelle1!$E$2</c:f>
              <c:strCache>
                <c:ptCount val="1"/>
                <c:pt idx="0">
                  <c:v>planned update: mean 2006-2020 (15y)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Tabelle1!$A$3:$A$33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Tabelle1!$E$3:$E$33</c:f>
              <c:numCache>
                <c:formatCode>General</c:formatCode>
                <c:ptCount val="31"/>
                <c:pt idx="16" formatCode="#,##0.0">
                  <c:v>17.787022577323164</c:v>
                </c:pt>
                <c:pt idx="17" formatCode="#,##0.0">
                  <c:v>17.787022577323164</c:v>
                </c:pt>
                <c:pt idx="18" formatCode="#,##0.0">
                  <c:v>17.787022577323164</c:v>
                </c:pt>
                <c:pt idx="19" formatCode="#,##0.0">
                  <c:v>17.787022577323164</c:v>
                </c:pt>
                <c:pt idx="20" formatCode="#,##0.0">
                  <c:v>17.787022577323164</c:v>
                </c:pt>
                <c:pt idx="21" formatCode="#,##0.0">
                  <c:v>17.787022577323164</c:v>
                </c:pt>
                <c:pt idx="22" formatCode="#,##0.0">
                  <c:v>17.787022577323164</c:v>
                </c:pt>
                <c:pt idx="23" formatCode="#,##0.0">
                  <c:v>17.787022577323164</c:v>
                </c:pt>
                <c:pt idx="24" formatCode="#,##0.0">
                  <c:v>17.787022577323164</c:v>
                </c:pt>
                <c:pt idx="25" formatCode="#,##0.0">
                  <c:v>17.787022577323164</c:v>
                </c:pt>
                <c:pt idx="26" formatCode="#,##0.0">
                  <c:v>17.787022577323164</c:v>
                </c:pt>
                <c:pt idx="27" formatCode="#,##0.0">
                  <c:v>17.787022577323164</c:v>
                </c:pt>
                <c:pt idx="28" formatCode="#,##0.0">
                  <c:v>17.787022577323164</c:v>
                </c:pt>
                <c:pt idx="29" formatCode="#,##0.0">
                  <c:v>17.787022577323164</c:v>
                </c:pt>
                <c:pt idx="30" formatCode="#,##0.0">
                  <c:v>17.787022577323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3-69E0-469C-950F-62750230FAC0}"/>
            </c:ext>
          </c:extLst>
        </c:ser>
        <c:ser>
          <c:idx val="4"/>
          <c:order val="4"/>
          <c:tx>
            <c:strRef>
              <c:f>Tabelle1!$F$2</c:f>
              <c:strCache>
                <c:ptCount val="1"/>
                <c:pt idx="0">
                  <c:v>alternative: mean 2011-2020 (10y)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numRef>
              <c:f>Tabelle1!$A$3:$A$33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Tabelle1!$F$3:$F$33</c:f>
              <c:numCache>
                <c:formatCode>General</c:formatCode>
                <c:ptCount val="31"/>
                <c:pt idx="21" formatCode="#,##0.0">
                  <c:v>17.356396663256469</c:v>
                </c:pt>
                <c:pt idx="22" formatCode="#,##0.0">
                  <c:v>17.356396663256469</c:v>
                </c:pt>
                <c:pt idx="23" formatCode="#,##0.0">
                  <c:v>17.356396663256469</c:v>
                </c:pt>
                <c:pt idx="24" formatCode="#,##0.0">
                  <c:v>17.356396663256469</c:v>
                </c:pt>
                <c:pt idx="25" formatCode="#,##0.0">
                  <c:v>17.356396663256469</c:v>
                </c:pt>
                <c:pt idx="26" formatCode="#,##0.0">
                  <c:v>17.356396663256469</c:v>
                </c:pt>
                <c:pt idx="27" formatCode="#,##0.0">
                  <c:v>17.356396663256469</c:v>
                </c:pt>
                <c:pt idx="28" formatCode="#,##0.0">
                  <c:v>17.356396663256469</c:v>
                </c:pt>
                <c:pt idx="29" formatCode="#,##0.0">
                  <c:v>17.356396663256469</c:v>
                </c:pt>
                <c:pt idx="30" formatCode="#,##0.0">
                  <c:v>17.3563966632564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E-69E0-469C-950F-62750230FA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85197008"/>
        <c:axId val="1185195040"/>
      </c:lineChart>
      <c:catAx>
        <c:axId val="118519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5195040"/>
        <c:crosses val="autoZero"/>
        <c:auto val="1"/>
        <c:lblAlgn val="ctr"/>
        <c:lblOffset val="100"/>
        <c:tickLblSkip val="2"/>
        <c:noMultiLvlLbl val="0"/>
      </c:catAx>
      <c:valAx>
        <c:axId val="1185195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Wh/a</a:t>
                </a:r>
              </a:p>
            </c:rich>
          </c:tx>
          <c:layout>
            <c:manualLayout>
              <c:xMode val="edge"/>
              <c:yMode val="edge"/>
              <c:x val="0"/>
              <c:y val="9.7950891877606923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5197008"/>
        <c:crossesAt val="1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7186699805001615"/>
          <c:y val="0.4314534406063763"/>
          <c:w val="0.21938540699477194"/>
          <c:h val="0.302913917560490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D31D9BB-3D3F-4574-8E95-6559BB925E8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72479" y="9529482"/>
            <a:ext cx="5246033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200"/>
            </a:lvl1pPr>
          </a:lstStyle>
          <a:p>
            <a:endParaRPr lang="de-DE" sz="900">
              <a:solidFill>
                <a:schemeClr val="tx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7C9357A-6AAD-4A3A-BA8B-B3CB6BCDCF3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875211" y="9529482"/>
            <a:ext cx="433606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155B21DF-03F7-48D1-9EF9-341820274C28}" type="slidenum">
              <a:rPr lang="de-DE" sz="900" smtClean="0">
                <a:solidFill>
                  <a:schemeClr val="tx2"/>
                </a:solidFill>
              </a:rPr>
              <a:pPr/>
              <a:t>‹#›</a:t>
            </a:fld>
            <a:endParaRPr lang="de-DE" sz="900">
              <a:solidFill>
                <a:schemeClr val="tx2"/>
              </a:solidFill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2D74DD4B-EB2C-4938-B2CD-A8937EF2AE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11828" y="546647"/>
            <a:ext cx="1196989" cy="31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7856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19075" y="1012825"/>
            <a:ext cx="6359525" cy="35782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94824" y="4777194"/>
            <a:ext cx="5808027" cy="390861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94823" y="9316309"/>
            <a:ext cx="4938190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1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17822" y="9316309"/>
            <a:ext cx="685030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fld id="{5DC6004A-C1DB-4938-ACC8-FECABC7D8C7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2D74DD4B-EB2C-4938-B2CD-A8937EF2AE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11828" y="546647"/>
            <a:ext cx="1196989" cy="31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8124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600"/>
      </a:spcBef>
      <a:buClr>
        <a:schemeClr val="tx1"/>
      </a:buClr>
      <a:buSzPct val="120000"/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buClr>
        <a:schemeClr val="tx1"/>
      </a:buClr>
      <a:buSzPct val="120000"/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buClr>
        <a:schemeClr val="tx1"/>
      </a:buClr>
      <a:buSzPct val="120000"/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buClr>
        <a:schemeClr val="tx1"/>
      </a:buClr>
      <a:buSzPct val="120000"/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Andere Farbe fuer das Thema dass diesen Monat spezielle Aufmerksamkeit bekommt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6004A-C1DB-4938-ACC8-FECABC7D8C78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33111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2021-03-03 RW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6004A-C1DB-4938-ACC8-FECABC7D8C78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24348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6004A-C1DB-4938-ACC8-FECABC7D8C78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5723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Backup </a:t>
            </a:r>
            <a:r>
              <a:rPr lang="de-DE" err="1"/>
              <a:t>slid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6004A-C1DB-4938-ACC8-FECABC7D8C78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4780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png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png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png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FFD3A10C-8759-4B38-90D9-59241EF7E7D4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4446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C24A7854-8C81-449E-8DE8-4CEECE32893D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A20353-4C62-4489-B87D-45A1DB0B31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057743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79C9C30-77C0-42BB-9292-9F100EECD8B6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D80F10B3-8276-4E88-A6C7-07F2906546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41486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D3F5250-569C-4021-81D1-99C3798E41E7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4183A1A1-BC31-4A6E-B753-CF550ECE5E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28997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93E66640-01A9-4C11-B4D6-53277488EF89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2E98CD02-CE11-48FF-B502-815B0DFE15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473186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E1BED03D-8460-498D-A1AC-CCC54B626AC6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EA799D0-F1D3-4FC4-9243-4B2316D2843D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5CA273A-0E00-4169-8E39-02DD820041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467376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EC5234FE-DB8F-403F-BA7C-3C416FEC7C6D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E3810548-5250-4FDE-AAF9-A480E9D1A93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17414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Handy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696F84D-DB9D-457F-BE17-29C1F65B4D3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B28E41D-AA42-4458-BDE3-8639DF95B8B1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0F31F1AC-D0ED-4F1B-B76D-58972EB3E8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857375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3E512BA9-15DC-4FAA-A0F7-40DB80896D80}"/>
              </a:ext>
            </a:extLst>
          </p:cNvPr>
          <p:cNvSpPr/>
          <p:nvPr userDrawn="1"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14D3DA8-70A3-4017-9DD8-B3C815465F0B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64999305-2975-4935-BDB6-2F64448E1C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7865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F4D442B0-99F5-4C88-8580-A83BDAD26F45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5F7D958-9BDE-4DC9-9964-B9D8B8FA3E9B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3A0209CD-0EAD-4006-95BF-47A32ED2291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544666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E0645F62-B5F4-4E1B-9FF0-901C4A9E684B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EFB095B4-D464-4FD4-A661-443649D94E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411344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B263257C-E91A-4FE9-ADE4-975DDFD8A6ED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874D5A43-2C95-4DB8-A61B-C912D9B635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578881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M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2F61CB1-B5CE-4DBC-AD99-C68D66516B00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679123A-B18B-4E56-B697-D2F3428DE7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954935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232850A5-5728-4D5E-B09C-7D8B9D7863B5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8B3E8EA9-ED89-44AD-944F-7AB45C2A9C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BD1335FE-9238-49F1-B046-85B79AC21B7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6326D442-2FA1-424B-B8C3-8E15D5C0F6A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E7169186-C1A6-42A0-8C13-305536EEA5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29C7777F-47CA-4354-A701-435081F6203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</p:spTree>
    <p:extLst>
      <p:ext uri="{BB962C8B-B14F-4D97-AF65-F5344CB8AC3E}">
        <p14:creationId xmlns:p14="http://schemas.microsoft.com/office/powerpoint/2010/main" val="40921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D0099AC4-4715-4ECF-A378-B96900FEAB3C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7CA9ED3C-F856-4B24-AFF5-BF7401C1E8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AFC3C4AA-3F1C-4900-8CC8-05E1684B69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id="{42B1AC03-AF2D-4961-A025-D2BE129137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714DE5B4-49A1-4374-973F-80057B9B0DA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5" name="Textplatzhalter 8">
            <a:extLst>
              <a:ext uri="{FF2B5EF4-FFF2-40B4-BE49-F238E27FC236}">
                <a16:creationId xmlns:a16="http://schemas.microsoft.com/office/drawing/2014/main" id="{8646398D-4AC5-42B0-9613-838125C948F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6" name="Textplatzhalter 8">
            <a:extLst>
              <a:ext uri="{FF2B5EF4-FFF2-40B4-BE49-F238E27FC236}">
                <a16:creationId xmlns:a16="http://schemas.microsoft.com/office/drawing/2014/main" id="{504B4414-BCD5-4F71-A43E-B3CA8DBA447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id="{4D09590D-D2C1-44AF-ACAC-0188061A492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544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7633491C-EA79-45CA-8ED4-E2B9D4456070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68B98F02-88B6-43DA-850B-E541AC1D4D2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9360EC0E-52DA-46BB-8F53-69EA746ED69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C51A8DC6-8327-4FD2-9447-FBB09787E53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C9D582C2-6062-46AF-89D2-952BF18A713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BBF4CD8E-6624-4CD4-AB24-1B4FC7155A6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31683E52-D1AD-4EA2-9A0A-6B9EE1EE825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C1DBBB8A-1E3A-4CC1-A0A2-1E4A8A60CB9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3967A4B6-B907-4CB8-AEE2-CA351AD98D4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E2A9C62B-3D57-48F1-9E4D-1F14F60B93E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20956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CB70B032-9547-48B0-ACB3-773CE114E0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3EF3FAAE-2B48-4C5E-AECA-407D5B2D8050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5A3BE85-32C1-41ED-8590-D005944BBED9}"/>
              </a:ext>
            </a:extLst>
          </p:cNvPr>
          <p:cNvGrpSpPr/>
          <p:nvPr userDrawn="1"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CD00986-D9D7-428D-8EE2-B69E9855DE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CAE2FFA1-270A-457B-978C-9C18535ECC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41EDA88F-74B5-4E03-9F1F-7C6F6D979DA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594657D7-7BEB-4DC8-A5EE-424517F4A5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14F6CA1C-C9C1-4462-B670-091989EE0B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AD691704-76C6-4000-8FB0-A746D1B559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7688B688-C68E-4FE2-B0B5-C0DD1A1A6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933B3614-1495-456C-8ACA-436A58875A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AC3466E6-C141-413F-9CAD-4FE8537191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D3D4B22D-6EF7-4D0F-A3BB-5F9791F351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52243236-17D3-489D-B36A-66F7F8C9BE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67D7E1C2-3873-44E2-8A6F-F56E2789EA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C5FF1A6B-B6B7-4A45-B919-B552817464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Untertitel 2">
            <a:extLst>
              <a:ext uri="{FF2B5EF4-FFF2-40B4-BE49-F238E27FC236}">
                <a16:creationId xmlns:a16="http://schemas.microsoft.com/office/drawing/2014/main" id="{AECB41C7-7396-4C6D-9194-4C8205DFEE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5C65CDD3-31CA-4B03-9D13-CA2FD24CDE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1CE916EC-FB7C-4E0A-8819-CD4974C509AA}" type="datetime1">
              <a:rPr lang="de-DE" smtClean="0"/>
              <a:t>2022-01-12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4ACEEDEE-8D8A-4224-A014-B68A3C73B3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5">
            <a:extLst>
              <a:ext uri="{FF2B5EF4-FFF2-40B4-BE49-F238E27FC236}">
                <a16:creationId xmlns:a16="http://schemas.microsoft.com/office/drawing/2014/main" id="{B2357643-3032-430B-B309-5764553A8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3E295932-9950-4AC4-BD57-14B3AD9D6745}"/>
              </a:ext>
            </a:extLst>
          </p:cNvPr>
          <p:cNvSpPr txBox="1">
            <a:spLocks/>
          </p:cNvSpPr>
          <p:nvPr userDrawn="1"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7248AC69-D52F-44EC-AF0F-654A28D401B9}"/>
              </a:ext>
            </a:extLst>
          </p:cNvPr>
          <p:cNvSpPr txBox="1">
            <a:spLocks/>
          </p:cNvSpPr>
          <p:nvPr userDrawn="1"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276501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954389BA-EBDB-40CF-9ED1-81C5AB52F37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815A5DA0-09BC-421E-AA22-5CE7B814373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F22D1C60-17A8-42B9-BEF2-62D475D27EC0}"/>
              </a:ext>
            </a:extLst>
          </p:cNvPr>
          <p:cNvGrpSpPr/>
          <p:nvPr userDrawn="1"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1041E06D-C9A5-4F97-8E9D-42CC29D6AE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914A7617-51A4-4DED-96CE-5B13DC223F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E64A89A4-84BD-4FDF-97CB-1FEE2AD7D9D4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5" name="Freeform 7">
                <a:extLst>
                  <a:ext uri="{FF2B5EF4-FFF2-40B4-BE49-F238E27FC236}">
                    <a16:creationId xmlns:a16="http://schemas.microsoft.com/office/drawing/2014/main" id="{CAB8A0E0-343C-419C-AEDD-CE24D7D77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8">
                <a:extLst>
                  <a:ext uri="{FF2B5EF4-FFF2-40B4-BE49-F238E27FC236}">
                    <a16:creationId xmlns:a16="http://schemas.microsoft.com/office/drawing/2014/main" id="{21DDD0E6-054D-4483-98B8-E36652F552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9">
                <a:extLst>
                  <a:ext uri="{FF2B5EF4-FFF2-40B4-BE49-F238E27FC236}">
                    <a16:creationId xmlns:a16="http://schemas.microsoft.com/office/drawing/2014/main" id="{086C3B2F-A61E-49F6-8101-95EFF0271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0">
                <a:extLst>
                  <a:ext uri="{FF2B5EF4-FFF2-40B4-BE49-F238E27FC236}">
                    <a16:creationId xmlns:a16="http://schemas.microsoft.com/office/drawing/2014/main" id="{9701EC43-1086-45FE-8113-AE53A121C8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1">
                <a:extLst>
                  <a:ext uri="{FF2B5EF4-FFF2-40B4-BE49-F238E27FC236}">
                    <a16:creationId xmlns:a16="http://schemas.microsoft.com/office/drawing/2014/main" id="{E2DA50DF-0753-4E76-9C65-A37262ED09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2">
                <a:extLst>
                  <a:ext uri="{FF2B5EF4-FFF2-40B4-BE49-F238E27FC236}">
                    <a16:creationId xmlns:a16="http://schemas.microsoft.com/office/drawing/2014/main" id="{F9528D5D-7E8A-49E8-835E-D9855832C2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3">
                <a:extLst>
                  <a:ext uri="{FF2B5EF4-FFF2-40B4-BE49-F238E27FC236}">
                    <a16:creationId xmlns:a16="http://schemas.microsoft.com/office/drawing/2014/main" id="{3999363A-AAB2-4377-9484-9D312C652B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4">
                <a:extLst>
                  <a:ext uri="{FF2B5EF4-FFF2-40B4-BE49-F238E27FC236}">
                    <a16:creationId xmlns:a16="http://schemas.microsoft.com/office/drawing/2014/main" id="{05A8FFB4-ACFE-47EC-95D9-C4379DF917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5">
                <a:extLst>
                  <a:ext uri="{FF2B5EF4-FFF2-40B4-BE49-F238E27FC236}">
                    <a16:creationId xmlns:a16="http://schemas.microsoft.com/office/drawing/2014/main" id="{CD0668DE-B26C-4FD0-8AA9-8542B9D4E1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6">
                <a:extLst>
                  <a:ext uri="{FF2B5EF4-FFF2-40B4-BE49-F238E27FC236}">
                    <a16:creationId xmlns:a16="http://schemas.microsoft.com/office/drawing/2014/main" id="{FFC7A754-CEA1-4B09-9B25-6CFDB24B49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09735178-CFC8-462A-ACC8-36E3E308536C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C6C62FA5-49F2-4F0D-8C05-21B68A46EEA1}" type="datetime1">
              <a:rPr lang="de-DE" smtClean="0"/>
              <a:t>2022-01-12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62957B3B-9E2F-48F0-A9FA-C7187EA32B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4">
            <a:extLst>
              <a:ext uri="{FF2B5EF4-FFF2-40B4-BE49-F238E27FC236}">
                <a16:creationId xmlns:a16="http://schemas.microsoft.com/office/drawing/2014/main" id="{3F5D8E33-1B15-4493-B881-F834B82BD27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Untertitel 2">
            <a:extLst>
              <a:ext uri="{FF2B5EF4-FFF2-40B4-BE49-F238E27FC236}">
                <a16:creationId xmlns:a16="http://schemas.microsoft.com/office/drawing/2014/main" id="{77FF5120-DB42-4311-BAAD-80A5DE6E67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7457A486-B0B2-41A4-9CEE-BC72E5299BE1}"/>
              </a:ext>
            </a:extLst>
          </p:cNvPr>
          <p:cNvSpPr txBox="1">
            <a:spLocks/>
          </p:cNvSpPr>
          <p:nvPr userDrawn="1"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10A421AD-5044-43F6-8152-31C3506979F5}"/>
              </a:ext>
            </a:extLst>
          </p:cNvPr>
          <p:cNvSpPr txBox="1">
            <a:spLocks/>
          </p:cNvSpPr>
          <p:nvPr userDrawn="1"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4093122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778D731D-F7BA-422C-834A-AD3B1E54B68B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74871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_LichtBli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2F55A13F-3BD7-4281-93DA-4F933EEFC499}" type="datetime1">
              <a:rPr lang="de-DE" smtClean="0"/>
              <a:t>2022-01-12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0962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 userDrawn="1"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 userDrawn="1"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6CFE689D-9A84-44E9-A3F3-EFF891E90A0D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0533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D43DBC6C-86FD-474A-99F1-628B4862E12A}" type="datetime1">
              <a:rPr lang="de-DE" smtClean="0"/>
              <a:t>2022-01-12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 userDrawn="1"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BD18794-6309-4515-A3AA-50612C151115}"/>
              </a:ext>
            </a:extLst>
          </p:cNvPr>
          <p:cNvGrpSpPr/>
          <p:nvPr userDrawn="1"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9CE6EB1D-F871-4BDD-91E0-753690FD8A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9C1C956C-6DA9-47D9-A45E-D0AC629242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E291F193-6B83-4905-8D40-2F4E12A6A556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2C698A07-CF4F-4B4E-B463-6AF11CA9E1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9B1E9AF-EE7D-4C68-B0D5-83050E8DC0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FB4DF82A-755E-4194-AA61-EE185EF95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A21AA307-0C44-4C53-8FD6-C9B341DEE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C065EBA0-82F0-471A-BDDE-95E37B6DDC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78081B6A-C4DB-4326-ACB1-473B3725B0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9EC739A3-31D7-4690-835F-B5FF4CAC1D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AF2382B-346A-4114-BA29-F4F3181C42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F5EC112F-DE14-4263-AA9E-A1F5D1CBA1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5C5DA915-BB91-4829-8996-AFF2A18002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30554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 userDrawn="1"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02F1BBE-4DD2-4507-81AE-C86AC597C43A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772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03682D4-1FB8-4FB7-A24D-D38120076E55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E47D79E-DE22-4CBC-BC3F-D6E47CD3607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211478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BD5292E-ABCC-411A-B03A-38C6B1E94E0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35FA59E7-65F1-4740-9B71-A3836C6B58A9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675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 userDrawn="1"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9C9BC8C7-5EE2-4E6E-B0BC-1B69C6BDB22A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8D9B16BE-0EE2-4EA3-BDC6-E0867C9B8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0C9746DD-0481-4D9E-B78D-3F412C9E24AC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897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FAD776B7-7E3B-47D6-AFFF-5C69E1223591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2970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 Voll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BEE35B3A-72E7-4E92-99C4-FE9D5DC56E52}" type="datetime1">
              <a:rPr lang="de-DE" smtClean="0"/>
              <a:t>2022-01-1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4582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 userDrawn="1"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EBF2D16-751C-4FC0-BCE3-62BD8AEC4AF5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27A00C33-587D-4D8E-AF75-8F6919383E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82519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FC01F785-7C75-4A9A-9F90-E098333E9096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8506E623-81AF-4305-B98E-DF4C35EBBD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63224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DACC09B8-3BE1-4BCD-B3F8-70DFF72FDCCF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A283F8AB-A46A-4870-8362-DF12D7EC4B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27138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E90EB28-E2D5-468F-B6B0-CABCEBBBDB49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783F2F5-2C34-4E75-8D38-8A94BCBFDD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971932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19A9307-EDD5-4407-8458-2EA98C755F18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79AF8DAB-B5CB-408F-A6E8-493F2E1DB3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944570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C01D5CC-E041-4C04-BE9C-2A761AA70E76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C0ED0037-8855-4204-8BDE-DF1CD6E8F5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58200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F48463A-C0DD-4641-AFBF-5382D37FA3AE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43AA36A9-77D1-44BE-BA4D-47000688CC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21553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791B616-C196-4BB5-80D3-EC2DC5A97953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963B6C51-6928-4ECE-8246-BA1DFEDCE3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591352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E967E5D9-BB8C-4774-89AB-B3F3ABA5812F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B796C412-2391-4B89-B883-7C0977F0D2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110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9817B505-4B55-464A-865B-A7066700ECC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6B4C7B4-ED6D-4EF4-B88B-D1458E921284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8D0648D1-40D0-4A4A-BC6E-D382A68555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79848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AFFBD6AE-736B-493D-ABE2-2C4E0DFBE023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5EE68F0F-C19E-45E9-BD75-8FC500F393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10664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Handy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088F803-F1C4-4596-A9D5-8C03BAD0BD6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11678FB9-B32D-4A30-97A0-467AC6AE28B9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C2F7910A-96CA-49EB-846D-FA2052474D4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55298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iPad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6C9BFDF4-9DAA-4839-BAFD-71747B65C9FB}"/>
              </a:ext>
            </a:extLst>
          </p:cNvPr>
          <p:cNvSpPr/>
          <p:nvPr userDrawn="1"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9DEAE80-C24E-4272-8246-CD72FE0EC3A7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665EE4D5-3BFA-4C08-8055-C04D2D810C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66465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876F057E-2AF1-414D-BDD2-290B0E24D7F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DF9F1965-46A3-4565-B445-F653BFF06B78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5FBF59BD-5DD6-4DA1-900C-AEC3A989F32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44441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49F0355F-6D54-45F1-8B54-F620C4172805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049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049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3198"/>
            <a:ext cx="3821114" cy="10106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3198"/>
            <a:ext cx="3821114" cy="10106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89A331EA-7D73-4998-B51B-E0F5FC09B79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916251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F05D6609-34F0-4FCA-B0F4-3D7229658A21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6C40560B-4DF7-47DA-B46D-1B33BF4D83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11217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63768467-634C-4771-9E41-E4FA43BB0989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BF72182D-61F9-4E9C-A5AA-70D1FD5357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6F7E146A-7186-40F8-90F9-B27910E6DC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6DDD03A3-F076-4625-90D6-85CA7A684D4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487AB407-DDAC-4C1D-94AA-1B9B6313DA7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0B847C45-9A30-4FA9-9AB8-F02BECA3C9E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</p:spTree>
    <p:extLst>
      <p:ext uri="{BB962C8B-B14F-4D97-AF65-F5344CB8AC3E}">
        <p14:creationId xmlns:p14="http://schemas.microsoft.com/office/powerpoint/2010/main" val="3423674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andy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D17AA7C-D28F-4F96-9014-2E436E85A0E3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B8434D50-54AF-4F54-BAC8-BDA813C7A8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593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Inhalt Farbfläch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0DE68C66-5209-439B-BA8D-5E60C2C80327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C9F0ACC9-CEAA-4EA6-A118-DD136891EB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01CA58C5-73BF-4F50-8E4E-C62D87E488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id="{A266F4AF-8576-4B5E-90FF-3B35B39E278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7DD15A8F-8B27-4F47-8BEB-85B05075D10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5" name="Textplatzhalter 8">
            <a:extLst>
              <a:ext uri="{FF2B5EF4-FFF2-40B4-BE49-F238E27FC236}">
                <a16:creationId xmlns:a16="http://schemas.microsoft.com/office/drawing/2014/main" id="{BF96D391-12B8-4DC2-8BA7-EE3B41ABA82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6" name="Textplatzhalter 8">
            <a:extLst>
              <a:ext uri="{FF2B5EF4-FFF2-40B4-BE49-F238E27FC236}">
                <a16:creationId xmlns:a16="http://schemas.microsoft.com/office/drawing/2014/main" id="{D4C580B9-825B-4196-9F6C-FFF6081A79D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id="{2C922E9A-0902-45D7-BBA0-8857792BAE2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0582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 Inhalt Farbfläch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C583DE40-B423-4F31-AB5C-DF5EAF1F143D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A4705E78-26BC-4F2A-A827-B7E21E2BA2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369B5A36-CCDA-4E7B-BB17-5917AFA842B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19357C29-2039-4728-BA3D-A07C2E0A6D9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A6FAC1FA-9F5A-4BE9-B968-50004B1C239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B98E5858-6EB0-4A6D-8F0B-9DC62A66829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F2C74E83-AABB-47C0-A384-793156F2C91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45549B26-C19C-4F93-9FAD-0B0F85A013A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49F3113B-5396-4A86-B434-189BEF0BBFE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7F5B0F8E-080F-4B1F-95A4-234F68E550C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8230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40601C92-0FB4-4F18-B951-EB6F465457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A8394AE5-C4D7-4BA4-B77C-17EBB5CFDBA9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CC30C46E-93BB-456B-A582-0CC839E3DEC6}"/>
              </a:ext>
            </a:extLst>
          </p:cNvPr>
          <p:cNvGrpSpPr/>
          <p:nvPr userDrawn="1"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26390C3B-B0B4-4EFE-9B46-FE8B885C49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50845654-756B-49A0-9B7E-490F7D9AD2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C5DDB20E-D4CF-45EC-8615-7530003E79BB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42679654-DC6C-46EC-93D8-41C51D8101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4F94D85A-AADF-4641-8240-09D8F219B1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3D20015B-C361-4C48-9B4D-E22C8B4269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5402477D-7C04-48FC-BB94-6B02286C7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AE5C8FA0-2B86-45D3-AB7C-5FF5872085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E0F3A930-2827-4306-A510-A90ED15C4A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95C94C5C-79C5-4030-B294-B47BF68610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10522F29-A710-4E4B-A86E-73768F11BD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11732295-C403-40B4-A6AA-AE2AC3555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199BAE08-20AA-458D-BD80-6223055889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Untertitel 2">
            <a:extLst>
              <a:ext uri="{FF2B5EF4-FFF2-40B4-BE49-F238E27FC236}">
                <a16:creationId xmlns:a16="http://schemas.microsoft.com/office/drawing/2014/main" id="{EF789A5E-C5ED-4B00-91BD-5B486EFCF5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BF9E35EE-32AE-4A57-8CEF-690AF84188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D790AA85-0940-4BE2-A566-F22430304F52}" type="datetime1">
              <a:rPr lang="de-DE" smtClean="0"/>
              <a:t>2022-01-12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A7F976A1-03EA-4935-874D-7F9EF6D57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5">
            <a:extLst>
              <a:ext uri="{FF2B5EF4-FFF2-40B4-BE49-F238E27FC236}">
                <a16:creationId xmlns:a16="http://schemas.microsoft.com/office/drawing/2014/main" id="{F6AA3DB3-A17B-46ED-A5E1-74092F67E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A7E0B9BD-E961-4821-9BA8-41836ABB95C4}"/>
              </a:ext>
            </a:extLst>
          </p:cNvPr>
          <p:cNvSpPr txBox="1">
            <a:spLocks/>
          </p:cNvSpPr>
          <p:nvPr userDrawn="1"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540F5CBA-0E28-443D-A0AD-E0BC0E45965C}"/>
              </a:ext>
            </a:extLst>
          </p:cNvPr>
          <p:cNvSpPr txBox="1">
            <a:spLocks/>
          </p:cNvSpPr>
          <p:nvPr userDrawn="1"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252180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400A9630-E268-4D88-8763-BC14F4231B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3FAC17A4-5C8B-43CE-B618-171D4C8F52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5AEA2E3C-9E3F-45EA-A8BA-FF5DAC7AC446}"/>
              </a:ext>
            </a:extLst>
          </p:cNvPr>
          <p:cNvGrpSpPr/>
          <p:nvPr userDrawn="1"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53" name="Oval 5">
              <a:extLst>
                <a:ext uri="{FF2B5EF4-FFF2-40B4-BE49-F238E27FC236}">
                  <a16:creationId xmlns:a16="http://schemas.microsoft.com/office/drawing/2014/main" id="{57DC0B9F-01EC-49A3-9E86-1DB9E4ED98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9B9FEFDC-416A-4ABB-9F7A-236D0CEEC4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963F1CB9-400C-4869-B592-6A147EACD152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56" name="Freeform 7">
                <a:extLst>
                  <a:ext uri="{FF2B5EF4-FFF2-40B4-BE49-F238E27FC236}">
                    <a16:creationId xmlns:a16="http://schemas.microsoft.com/office/drawing/2014/main" id="{E52A645E-6190-4BAD-991C-39894C93AC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7" name="Freeform 8">
                <a:extLst>
                  <a:ext uri="{FF2B5EF4-FFF2-40B4-BE49-F238E27FC236}">
                    <a16:creationId xmlns:a16="http://schemas.microsoft.com/office/drawing/2014/main" id="{4F9843DB-16F0-46AC-A1EF-3338C337D0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8" name="Freeform 9">
                <a:extLst>
                  <a:ext uri="{FF2B5EF4-FFF2-40B4-BE49-F238E27FC236}">
                    <a16:creationId xmlns:a16="http://schemas.microsoft.com/office/drawing/2014/main" id="{9926870A-6628-41FC-B399-DAB7083B8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10">
                <a:extLst>
                  <a:ext uri="{FF2B5EF4-FFF2-40B4-BE49-F238E27FC236}">
                    <a16:creationId xmlns:a16="http://schemas.microsoft.com/office/drawing/2014/main" id="{DCF3258F-E6B5-400F-9F23-7C69876903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11">
                <a:extLst>
                  <a:ext uri="{FF2B5EF4-FFF2-40B4-BE49-F238E27FC236}">
                    <a16:creationId xmlns:a16="http://schemas.microsoft.com/office/drawing/2014/main" id="{87DC1906-3B94-4188-B7CC-F97C41995D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2">
                <a:extLst>
                  <a:ext uri="{FF2B5EF4-FFF2-40B4-BE49-F238E27FC236}">
                    <a16:creationId xmlns:a16="http://schemas.microsoft.com/office/drawing/2014/main" id="{1A9B9CBB-91B6-46EB-972C-9D9E0F3BD7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3">
                <a:extLst>
                  <a:ext uri="{FF2B5EF4-FFF2-40B4-BE49-F238E27FC236}">
                    <a16:creationId xmlns:a16="http://schemas.microsoft.com/office/drawing/2014/main" id="{201A6006-9AD5-4854-9CDD-1EA06BD9D0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4">
                <a:extLst>
                  <a:ext uri="{FF2B5EF4-FFF2-40B4-BE49-F238E27FC236}">
                    <a16:creationId xmlns:a16="http://schemas.microsoft.com/office/drawing/2014/main" id="{8B8BFF41-5284-4CDC-B416-992EAF814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5">
                <a:extLst>
                  <a:ext uri="{FF2B5EF4-FFF2-40B4-BE49-F238E27FC236}">
                    <a16:creationId xmlns:a16="http://schemas.microsoft.com/office/drawing/2014/main" id="{93213C91-9028-44F2-A3C8-673E10370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6">
                <a:extLst>
                  <a:ext uri="{FF2B5EF4-FFF2-40B4-BE49-F238E27FC236}">
                    <a16:creationId xmlns:a16="http://schemas.microsoft.com/office/drawing/2014/main" id="{D6AA74E2-BF29-4264-814F-3AA3AC6151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6" name="Datumsplatzhalter 2">
            <a:extLst>
              <a:ext uri="{FF2B5EF4-FFF2-40B4-BE49-F238E27FC236}">
                <a16:creationId xmlns:a16="http://schemas.microsoft.com/office/drawing/2014/main" id="{9B508590-A8E9-4FF5-9317-1BD56248057F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A3CE2562-F2AD-4959-BF03-026209E208AF}" type="datetime1">
              <a:rPr lang="de-DE" smtClean="0"/>
              <a:t>2022-01-12</a:t>
            </a:fld>
            <a:endParaRPr lang="de-DE"/>
          </a:p>
        </p:txBody>
      </p:sp>
      <p:sp>
        <p:nvSpPr>
          <p:cNvPr id="67" name="Fußzeilenplatzhalter 3">
            <a:extLst>
              <a:ext uri="{FF2B5EF4-FFF2-40B4-BE49-F238E27FC236}">
                <a16:creationId xmlns:a16="http://schemas.microsoft.com/office/drawing/2014/main" id="{8EFE864B-0C11-44A8-BFA4-30C0F402A0C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68" name="Foliennummernplatzhalter 4">
            <a:extLst>
              <a:ext uri="{FF2B5EF4-FFF2-40B4-BE49-F238E27FC236}">
                <a16:creationId xmlns:a16="http://schemas.microsoft.com/office/drawing/2014/main" id="{9C2243B2-6D57-4F86-9939-1E7853DAA9F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9" name="Untertitel 2">
            <a:extLst>
              <a:ext uri="{FF2B5EF4-FFF2-40B4-BE49-F238E27FC236}">
                <a16:creationId xmlns:a16="http://schemas.microsoft.com/office/drawing/2014/main" id="{FEEA8252-684F-48D9-B9AD-36775964B3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167387E4-5F60-4A68-B79D-6E8B2AFB4779}"/>
              </a:ext>
            </a:extLst>
          </p:cNvPr>
          <p:cNvSpPr txBox="1">
            <a:spLocks/>
          </p:cNvSpPr>
          <p:nvPr userDrawn="1"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5C0DDD55-B655-4207-8868-68E3C13220A8}"/>
              </a:ext>
            </a:extLst>
          </p:cNvPr>
          <p:cNvSpPr txBox="1">
            <a:spLocks/>
          </p:cNvSpPr>
          <p:nvPr userDrawn="1"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18725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4232CEF-4B93-46A9-BD07-59225F9DBC32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96867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s_LichtBli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471021D6-17EB-4A09-94C8-5103EED4A6F6}" type="datetime1">
              <a:rPr lang="de-DE" smtClean="0"/>
              <a:t>2022-01-12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637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0BB8B134-C177-4C5D-B423-F8D404C9F4F4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0115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Voll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45D20AE2-300B-4FD7-984A-8489C524E5AB}" type="datetime1">
              <a:rPr lang="de-DE" smtClean="0"/>
              <a:t>2022-01-12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1021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F09CBA3-C91F-4503-8BB7-A39B78326C05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1833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folie Voll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3988F174-6036-41F7-9040-E94FB9C3CEC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1B32A30A-9A6B-471A-8355-5C85A47FAF96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0158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2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4E5DAE5-A7E0-4221-B516-9CDBBEC6ED42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802240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802240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E7B4D499-D0D5-4F6E-B6DA-418C7C0AD6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58786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4B6B05B8-01AA-49BA-9516-428B9520A74F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BC69060B-162B-4C5C-A91D-870BEA45C8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0BF02A1A-5FD3-421F-9323-46435A7BCD7F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9280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 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BB0242E9-D5AA-4FE1-A738-04BB5C5B5511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0903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folie Vollbild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6C298331-2266-42E0-8AD8-1323BF24C7B9}" type="datetime1">
              <a:rPr lang="de-DE" smtClean="0"/>
              <a:t>2022-01-1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7038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824B22F2-4CA8-4D6F-A1C0-EA80845E57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A1C2B96-C1CB-4A30-A64B-1A6FC0E93469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2483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foli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0305F78D-13E3-49D5-B8AC-A6450577886F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DFAD810F-0319-4C39-9937-B53CE8D33B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854810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7C322137-A769-43E7-AF2E-7E841F59C7A5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A20353-4C62-4489-B87D-45A1DB0B31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72892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M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D5DE351-6E49-4817-BBC2-52FAC0C4F79C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679123A-B18B-4E56-B697-D2F3428DE7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415918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2F2E42C-F580-4F72-A4B2-A19971FCD370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E47D79E-DE22-4CBC-BC3F-D6E47CD3607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816735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C5979A8-2720-4D92-8424-FA5CBCCF21AE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43AA36A9-77D1-44BE-BA4D-47000688CC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932420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andy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1EA1EC0-65E1-44BE-B0A5-ED002A1AA9F8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B8434D50-54AF-4F54-BAC8-BDA813C7A8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238691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Pad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96FB6659-AE4F-433E-99EC-86EB70F7EF7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864EB8D-ADEA-4391-8960-FB8C80DC2DCA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D53685C-AA02-4122-8DC6-DB6D6F9B92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402478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2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92391E68-C0CF-44D6-A097-311EEB434E5D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802240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802240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E7B4D499-D0D5-4F6E-B6DA-418C7C0AD6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3520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Pad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96FB6659-AE4F-433E-99EC-86EB70F7EF7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3A7B092-C658-4D57-AF93-252BF54FE7A2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D53685C-AA02-4122-8DC6-DB6D6F9B92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02195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9DC28E8C-A459-498B-9C8B-CFB080DA1F87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46D6CADC-F0F5-4A2C-9818-A1B8228A4C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067548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BB16B60-3BAB-46C5-AA60-2E059C5FA924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1EA09899-B6D8-4BD2-A8A2-5CDD84F696F7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BD5AB9C7-E3A0-4376-9897-AD1BFB8938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913819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5C3D82BE-3381-43FD-8C1F-5F4601CE32DB}"/>
              </a:ext>
            </a:extLst>
          </p:cNvPr>
          <p:cNvSpPr/>
          <p:nvPr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D9F8F1B-4A94-4337-A648-B94C90768782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357BC088-7F0D-4DFF-AD47-F71E0C0B2E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53119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ck Up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2557854-CFB7-40F5-BE2E-2E3FE32E7336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455063F-DFC3-43D1-9D60-6128DE8F5B21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0A61A0E5-CD93-4E9C-8F85-745F3E5C0D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26314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F3EFBB82-8E79-462F-86ED-2D71C7E1093B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F56DF26D-3437-4499-97B1-2CC299E31D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888013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510C87F7-F051-4CF4-8DFF-9A31BF0AE2CE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5D423A01-7715-4A1C-80A5-6BF82C7D12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307561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56" name="Bildplatzhalter 55">
            <a:extLst>
              <a:ext uri="{FF2B5EF4-FFF2-40B4-BE49-F238E27FC236}">
                <a16:creationId xmlns:a16="http://schemas.microsoft.com/office/drawing/2014/main" id="{932A7BA9-B4F2-49DF-B582-09CAD34801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3" name="Bildplatzhalter 62">
            <a:extLst>
              <a:ext uri="{FF2B5EF4-FFF2-40B4-BE49-F238E27FC236}">
                <a16:creationId xmlns:a16="http://schemas.microsoft.com/office/drawing/2014/main" id="{581CE1A1-72E0-42D8-8BD1-73E34C8DA5EA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61" name="Bildplatzhalter 60">
            <a:extLst>
              <a:ext uri="{FF2B5EF4-FFF2-40B4-BE49-F238E27FC236}">
                <a16:creationId xmlns:a16="http://schemas.microsoft.com/office/drawing/2014/main" id="{D41B6DFA-DE64-41E3-BFBB-200F332BBB3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62" name="Bildplatzhalter 61">
            <a:extLst>
              <a:ext uri="{FF2B5EF4-FFF2-40B4-BE49-F238E27FC236}">
                <a16:creationId xmlns:a16="http://schemas.microsoft.com/office/drawing/2014/main" id="{744C5B8B-0608-471E-A233-3632C450CF5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864F3BFF-3CDE-4101-BC2F-9A8F37E9A0A2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F4EB41D9-291D-4B55-B324-F2C567EE9B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650154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DB2B1342-48CA-448D-9ADA-B13311B0F4CA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69AFB9C-5517-4407-B7FD-EF75A6A7FA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1" name="Textplatzhalter 16">
            <a:extLst>
              <a:ext uri="{FF2B5EF4-FFF2-40B4-BE49-F238E27FC236}">
                <a16:creationId xmlns:a16="http://schemas.microsoft.com/office/drawing/2014/main" id="{30296C02-F395-4295-A8EC-3AEE6D2CBCC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2" name="Textplatzhalter 16">
            <a:extLst>
              <a:ext uri="{FF2B5EF4-FFF2-40B4-BE49-F238E27FC236}">
                <a16:creationId xmlns:a16="http://schemas.microsoft.com/office/drawing/2014/main" id="{91306E28-BA38-46F5-B8BC-88038F6D179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9B9A57EA-FE38-44D6-AE3D-B4F3EC060A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A12A35B3-094B-4742-ABEA-3516D15BAA4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9CC9674C-B951-4329-A121-7E04804815B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67765B34-0AE2-40CA-9A34-4B03C65FFEB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0493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8C741C5-AA63-4BBB-96A2-73B66710246B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46D6CADC-F0F5-4A2C-9818-A1B8228A4C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998990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B3D1E19F-D5F6-48F5-8EFF-EB97224D0AFE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16B6E171-4B7C-469F-B35A-49E7222610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13F65E49-137F-49CC-96C9-677D761EF6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A54F49FB-AE91-4E83-80C5-3CF742AB40C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64FF7AE2-3588-465D-A4E3-EDCD553F9B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A1F604F1-EB11-400B-ABDD-3099399B4AD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5BC4B0FA-D582-4036-93F1-96814F4971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4B580C67-39E0-4EC8-9F24-8E7864C39E6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E7FBAB3C-EF31-417C-9446-82665CB1E6D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DCC8B642-B619-4D5D-BEE0-CD8E23A77B0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65567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DBA92605-BBDE-4D7C-B39F-1E98C189EE5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B0374E10-3286-47C8-8ED2-2A4F88E7886F}"/>
              </a:ext>
            </a:extLst>
          </p:cNvPr>
          <p:cNvSpPr/>
          <p:nvPr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6" name="Untertitel 2">
            <a:extLst>
              <a:ext uri="{FF2B5EF4-FFF2-40B4-BE49-F238E27FC236}">
                <a16:creationId xmlns:a16="http://schemas.microsoft.com/office/drawing/2014/main" id="{D96F2E30-AD82-4714-8A11-F958AF4B58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A9BCAB-9C87-4D36-B881-012BF99022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B3BE78D5-FAAF-475D-B14C-489B90A40A9B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069FE-2725-4BCC-BCF7-A78591EA8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EE5DB6-0E07-4B7F-B8B0-939A52CB4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C919270-0373-4724-98EA-4F5244A618BB}"/>
              </a:ext>
            </a:extLst>
          </p:cNvPr>
          <p:cNvSpPr txBox="1">
            <a:spLocks/>
          </p:cNvSpPr>
          <p:nvPr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B08C6D-40F5-4999-BE63-3548B437CFA0}"/>
              </a:ext>
            </a:extLst>
          </p:cNvPr>
          <p:cNvSpPr txBox="1">
            <a:spLocks/>
          </p:cNvSpPr>
          <p:nvPr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2244558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 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0142DB26-9077-4456-9A99-1FFF392AF939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02C3296D-204D-4287-9946-F03ED5B09CF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437962F-E714-42F7-B807-3B72669F46F9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A978AE59-094C-4206-9F2F-5204EC006187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99922A8-9C1D-4216-90A2-3392B73412B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FBD4C10-6C65-4DD3-B1F1-2C774F7CDFB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78D7C0B7-74BD-41CB-ABE2-0EC389AF3F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86032D8-4031-4467-BE05-2556CF2BD66E}"/>
              </a:ext>
            </a:extLst>
          </p:cNvPr>
          <p:cNvSpPr txBox="1">
            <a:spLocks/>
          </p:cNvSpPr>
          <p:nvPr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1DB7F4A3-B0B9-4C76-8A25-C5E91C59FE24}"/>
              </a:ext>
            </a:extLst>
          </p:cNvPr>
          <p:cNvSpPr txBox="1">
            <a:spLocks/>
          </p:cNvSpPr>
          <p:nvPr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185901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12AF488-8E4D-43C6-814B-6907F8EBC183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98005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oke_LichtBlic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C29D6BE2-5D78-4ED2-A2FA-326F8AB0DB08}" type="datetime1">
              <a:rPr lang="de-DE" smtClean="0"/>
              <a:t>2022-01-12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7440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BB16B60-3BAB-46C5-AA60-2E059C5FA924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CCF2E44-44FF-4731-BAC9-9E09704AA82D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BD5AB9C7-E3A0-4376-9897-AD1BFB8938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076463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5C3D82BE-3381-43FD-8C1F-5F4601CE32DB}"/>
              </a:ext>
            </a:extLst>
          </p:cNvPr>
          <p:cNvSpPr/>
          <p:nvPr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E25E3A0-88D4-4E13-8A69-30A3370C4745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357BC088-7F0D-4DFF-AD47-F71E0C0B2E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267040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Voll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991DFC75-AD38-49C3-A637-0E97ACE4FFE8}" type="datetime1">
              <a:rPr lang="de-DE" smtClean="0"/>
              <a:t>2022-01-12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7315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ck Up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2557854-CFB7-40F5-BE2E-2E3FE32E7336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0E7A77F-5F62-4597-AD60-6877A9C337C4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0A61A0E5-CD93-4E9C-8F85-745F3E5C0D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94720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AA77F996-45C6-4D5B-9A38-62EAA692AB32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F56DF26D-3437-4499-97B1-2CC299E31D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1053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339CFB9B-C206-4AA2-9C0C-33F63A0DCC93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5D423A01-7715-4A1C-80A5-6BF82C7D12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373316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56" name="Bildplatzhalter 55">
            <a:extLst>
              <a:ext uri="{FF2B5EF4-FFF2-40B4-BE49-F238E27FC236}">
                <a16:creationId xmlns:a16="http://schemas.microsoft.com/office/drawing/2014/main" id="{932A7BA9-B4F2-49DF-B582-09CAD34801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3" name="Bildplatzhalter 62">
            <a:extLst>
              <a:ext uri="{FF2B5EF4-FFF2-40B4-BE49-F238E27FC236}">
                <a16:creationId xmlns:a16="http://schemas.microsoft.com/office/drawing/2014/main" id="{581CE1A1-72E0-42D8-8BD1-73E34C8DA5EA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61" name="Bildplatzhalter 60">
            <a:extLst>
              <a:ext uri="{FF2B5EF4-FFF2-40B4-BE49-F238E27FC236}">
                <a16:creationId xmlns:a16="http://schemas.microsoft.com/office/drawing/2014/main" id="{D41B6DFA-DE64-41E3-BFBB-200F332BBB3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62" name="Bildplatzhalter 61">
            <a:extLst>
              <a:ext uri="{FF2B5EF4-FFF2-40B4-BE49-F238E27FC236}">
                <a16:creationId xmlns:a16="http://schemas.microsoft.com/office/drawing/2014/main" id="{744C5B8B-0608-471E-A233-3632C450CF5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DF627656-FDDD-45C9-B6EE-5C2A38527524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F4EB41D9-291D-4B55-B324-F2C567EE9B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379515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BAF7784B-03F4-416F-96FA-0DC7339C99A8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69AFB9C-5517-4407-B7FD-EF75A6A7FA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1" name="Textplatzhalter 16">
            <a:extLst>
              <a:ext uri="{FF2B5EF4-FFF2-40B4-BE49-F238E27FC236}">
                <a16:creationId xmlns:a16="http://schemas.microsoft.com/office/drawing/2014/main" id="{30296C02-F395-4295-A8EC-3AEE6D2CBCC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2" name="Textplatzhalter 16">
            <a:extLst>
              <a:ext uri="{FF2B5EF4-FFF2-40B4-BE49-F238E27FC236}">
                <a16:creationId xmlns:a16="http://schemas.microsoft.com/office/drawing/2014/main" id="{91306E28-BA38-46F5-B8BC-88038F6D179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9B9A57EA-FE38-44D6-AE3D-B4F3EC060A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A12A35B3-094B-4742-ABEA-3516D15BAA4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9CC9674C-B951-4329-A121-7E04804815B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67765B34-0AE2-40CA-9A34-4B03C65FFEB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6713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48005A95-628E-4785-ACA4-1BBE165CC893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16B6E171-4B7C-469F-B35A-49E7222610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13F65E49-137F-49CC-96C9-677D761EF6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A54F49FB-AE91-4E83-80C5-3CF742AB40C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64FF7AE2-3588-465D-A4E3-EDCD553F9B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A1F604F1-EB11-400B-ABDD-3099399B4AD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5BC4B0FA-D582-4036-93F1-96814F4971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4B580C67-39E0-4EC8-9F24-8E7864C39E6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E7FBAB3C-EF31-417C-9446-82665CB1E6D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DCC8B642-B619-4D5D-BEE0-CD8E23A77B0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38996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DBA92605-BBDE-4D7C-B39F-1E98C189EE5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B0374E10-3286-47C8-8ED2-2A4F88E7886F}"/>
              </a:ext>
            </a:extLst>
          </p:cNvPr>
          <p:cNvSpPr/>
          <p:nvPr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6" name="Untertitel 2">
            <a:extLst>
              <a:ext uri="{FF2B5EF4-FFF2-40B4-BE49-F238E27FC236}">
                <a16:creationId xmlns:a16="http://schemas.microsoft.com/office/drawing/2014/main" id="{D96F2E30-AD82-4714-8A11-F958AF4B58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A9BCAB-9C87-4D36-B881-012BF99022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71166447-4FB1-481C-9DCD-F91A2EDFC5A5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069FE-2725-4BCC-BCF7-A78591EA8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EE5DB6-0E07-4B7F-B8B0-939A52CB4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C919270-0373-4724-98EA-4F5244A618BB}"/>
              </a:ext>
            </a:extLst>
          </p:cNvPr>
          <p:cNvSpPr txBox="1">
            <a:spLocks/>
          </p:cNvSpPr>
          <p:nvPr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B08C6D-40F5-4999-BE63-3548B437CFA0}"/>
              </a:ext>
            </a:extLst>
          </p:cNvPr>
          <p:cNvSpPr txBox="1">
            <a:spLocks/>
          </p:cNvSpPr>
          <p:nvPr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840098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 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0142DB26-9077-4456-9A99-1FFF392AF939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02C3296D-204D-4287-9946-F03ED5B09CF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437962F-E714-42F7-B807-3B72669F46F9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98B4F097-036A-4F81-9B2E-28003ED29EDB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99922A8-9C1D-4216-90A2-3392B73412B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FBD4C10-6C65-4DD3-B1F1-2C774F7CDFB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78D7C0B7-74BD-41CB-ABE2-0EC389AF3F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86032D8-4031-4467-BE05-2556CF2BD66E}"/>
              </a:ext>
            </a:extLst>
          </p:cNvPr>
          <p:cNvSpPr txBox="1">
            <a:spLocks/>
          </p:cNvSpPr>
          <p:nvPr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1DB7F4A3-B0B9-4C76-8A25-C5E91C59FE24}"/>
              </a:ext>
            </a:extLst>
          </p:cNvPr>
          <p:cNvSpPr txBox="1">
            <a:spLocks/>
          </p:cNvSpPr>
          <p:nvPr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2129100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767BDC54-93E7-46D6-A923-420DE26F4774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7506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oke_LichtBlic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270A6B10-3551-4AE8-958C-ECAB62181F56}" type="datetime1">
              <a:rPr lang="de-DE" smtClean="0"/>
              <a:t>2022-01-12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265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7374F2B6-8063-44E8-BD23-ADCBE5467841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6518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 userDrawn="1"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 userDrawn="1"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A4421DDD-3138-4335-A3AC-877D44C13935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758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97045ED9-641D-4C1E-B542-D75B508F04A2}" type="datetime1">
              <a:rPr lang="de-DE" smtClean="0"/>
              <a:t>2022-01-12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 userDrawn="1"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333B8CAC-45F5-4E4D-935E-DF0718CC56C1}"/>
              </a:ext>
            </a:extLst>
          </p:cNvPr>
          <p:cNvGrpSpPr/>
          <p:nvPr userDrawn="1"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5E5F891E-CC26-4403-8404-7D6644CA7E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554A93CD-B3DD-496E-9C1A-EDC65590B8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85B403AC-0C92-4E86-A864-3B3CBE5FB8DB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7F986846-E3A3-4F2E-B92B-69C7EFDD3E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B0CA22B6-A59B-4FC8-99DF-80E8C22E28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F81E8CB3-330A-4E20-B9E5-A086419082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C6BAA7EC-1978-4FCF-A7EC-D3AE80FEEC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A135AE69-4A36-42E6-AF73-917943FC94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C7CB8A78-7E6C-4275-8F55-0DCF03F2AA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A0010714-24B6-4962-BF7D-EA1BE34666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641653C8-7FE3-4AE3-A3B3-D4EFD2B21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F7332743-42FB-4747-B8A5-A59829BE26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08EDCD56-147F-4961-A599-66F4CA141F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8772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 userDrawn="1"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C6EB563-4851-4295-81BE-510D778737CB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297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D8CB3D5-AD9B-4718-8C64-DC98EE6DE01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5FD22D06-75BB-4056-824F-44FEF45E6C9E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8517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AE1ACD0B-7549-4DB6-B932-5D17631C4F42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 userDrawn="1"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8D8E4383-D131-47F4-B026-33971C4D6CB6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3639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6209FB1C-DEEA-4216-A95F-CC420865E62C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1173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 Voll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A107FBA5-AC79-47EA-ABC6-9E3665A66BC3}" type="datetime1">
              <a:rPr lang="de-DE" smtClean="0"/>
              <a:t>2022-01-1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3652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 userDrawn="1"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DDD7877-E12E-47F8-9C6F-F51D6119FBE1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914B376C-9141-4DC8-8154-F283A5A7BB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3935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F13228AB-B9C9-4CD7-ADC2-23BD146D2AE3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8414F840-8E20-4CCB-B143-253301C042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08218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16F6FF1B-78FB-4ACE-83D8-904A5ACA41C7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FD37BB37-15C1-4D4F-B838-4BB494FCC9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292745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folie Voll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3988F174-6036-41F7-9040-E94FB9C3CEC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7FD02AF7-BB8F-44CB-9EA5-7E8D2A9827DD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3627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E60C978-979D-4F07-9A2E-A77F5364E3C1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43D1650B-5C98-4AAF-B2EE-7690555010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59680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D44BE895-334E-4B69-A87D-B860F5787DD1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891DB37A-5F81-4650-B5EC-5A44F6A041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846127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0D11D89-0A36-46BD-957E-22F775C67076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66B6D06B-2653-4492-86EF-908ECD7ABE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55651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730CC703-2564-43E7-BD14-B699A2015C78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95D9ACE3-4DC2-4CC4-B29C-FE051965C9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034385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B68432A-69EE-4312-92FF-59911663F6D1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A4422F65-D8EA-46AF-A699-D91B7554C86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233917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48A341EB-8E22-4A7D-B198-A3FE94E10FA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736918D4-E788-4A39-B5FF-512F7FE99381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7A2607C6-B939-4A5C-89EE-3FADD9744C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709795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71B19E0-9DBA-4711-BB6A-784655BFE6BB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CDCE67FF-8C34-4EA1-A50E-A51B7729B61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081490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Handy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79041A03-3918-4BF6-93ED-25622ED2552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E29E04EE-5B75-415A-A2D4-B6FA8C163F90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80541407-CC33-4220-84FA-A837FAD3EE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0428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iPad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FFC1108E-D0EC-4363-BACD-E7C6405BAD95}"/>
              </a:ext>
            </a:extLst>
          </p:cNvPr>
          <p:cNvSpPr/>
          <p:nvPr userDrawn="1"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4170428-C744-457E-8260-DD3EFD0122B6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021433C2-8557-4AC9-B08A-C2CF238B5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93701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94EA1D87-17FA-4955-A24F-68104FF021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D393C8CA-F85E-40DE-A810-EF63B989004E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373E5ECD-7BED-4D15-90F5-00D4CEBF83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909307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A42B176C-78D3-48FB-9393-926B612A7619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BC69060B-162B-4C5C-A91D-870BEA45C8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0BF02A1A-5FD3-421F-9323-46435A7BCD7F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5598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43162F68-EBF7-47AE-AD7B-E5A5C9F99F2B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B3FBE115-0132-47D3-9CA6-E3974709BA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03910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FA851B12-0DA3-4F7E-AADD-68958ED5FF0B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0621D818-0EAB-4439-9B91-D7BD6EEC3E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83392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7932146D-577C-4A3F-9670-F844928EA030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7DC28A95-F57F-42BD-A112-794978F2C0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45C68B6E-864E-4757-8FBD-B5EB6C66076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2E0DACAD-E889-4699-9EFB-003D891B6B8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47FBA20F-37BD-4882-BFD8-C8FE0EF6954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29475EE-C7E3-4D4B-8C7B-101E4F3EF50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</p:spTree>
    <p:extLst>
      <p:ext uri="{BB962C8B-B14F-4D97-AF65-F5344CB8AC3E}">
        <p14:creationId xmlns:p14="http://schemas.microsoft.com/office/powerpoint/2010/main" val="2661529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Inhalt Farbfläch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F6F7E22E-314C-404A-9280-46C5CB92BF9A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90D2C574-D497-4C62-965B-B7B78883959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330E89D2-DE47-4785-A913-9B0D34C37E4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id="{2EC7269E-71A8-4307-9A13-7EAADABB64F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E53AD428-D3E1-4EE1-B9C5-49DE987BF61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5" name="Textplatzhalter 8">
            <a:extLst>
              <a:ext uri="{FF2B5EF4-FFF2-40B4-BE49-F238E27FC236}">
                <a16:creationId xmlns:a16="http://schemas.microsoft.com/office/drawing/2014/main" id="{5716F1A4-52F4-4FA3-94B9-AD10F95146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6" name="Textplatzhalter 8">
            <a:extLst>
              <a:ext uri="{FF2B5EF4-FFF2-40B4-BE49-F238E27FC236}">
                <a16:creationId xmlns:a16="http://schemas.microsoft.com/office/drawing/2014/main" id="{0C568DF1-8822-4956-B2CA-D4CF0312D9F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id="{57E36EEB-D356-4A20-B333-FC54DC01551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9504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 Inhalt Farbfläch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4A04DE2B-56A3-4050-B316-849147264C3A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88CA8FC8-947A-4771-B487-B79B084C7F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5D5B5FA2-EABF-4A53-9CC2-33A2AF9ADB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ECFAD37C-78E5-4B63-94F8-2E25C162EF7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4DBBAE40-4AE6-4A53-8E33-8BF3C08852C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80C0C41C-DF66-4D75-B3AD-D8B9ECA09B4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23BD5A34-D428-4F88-A83E-3016DE42910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515D80D5-4CAD-4402-9694-A09186BB5CA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9C23A202-2D17-4D53-ABA4-DD01DCD7768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3E87C2CD-61E1-4613-94C6-3CF4C20FE0B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91127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Freihandform: Form 71">
            <a:extLst>
              <a:ext uri="{FF2B5EF4-FFF2-40B4-BE49-F238E27FC236}">
                <a16:creationId xmlns:a16="http://schemas.microsoft.com/office/drawing/2014/main" id="{A75114BC-7431-4632-B07E-7999E2A151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3" name="Rechteck: eine Ecke abgerundet 72">
            <a:extLst>
              <a:ext uri="{FF2B5EF4-FFF2-40B4-BE49-F238E27FC236}">
                <a16:creationId xmlns:a16="http://schemas.microsoft.com/office/drawing/2014/main" id="{A7A827D1-AA06-488B-BA96-C287ED4B204C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D6DACE5A-3BDE-412C-A52F-5E1754695BA8}"/>
              </a:ext>
            </a:extLst>
          </p:cNvPr>
          <p:cNvGrpSpPr/>
          <p:nvPr userDrawn="1"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75" name="Oval 5">
              <a:extLst>
                <a:ext uri="{FF2B5EF4-FFF2-40B4-BE49-F238E27FC236}">
                  <a16:creationId xmlns:a16="http://schemas.microsoft.com/office/drawing/2014/main" id="{03561C31-2A86-44BB-99A5-BB37740F83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76" name="Freeform 6">
              <a:extLst>
                <a:ext uri="{FF2B5EF4-FFF2-40B4-BE49-F238E27FC236}">
                  <a16:creationId xmlns:a16="http://schemas.microsoft.com/office/drawing/2014/main" id="{3DCC3458-AE28-4F4E-B295-E2688C5B5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77" name="Gruppieren 76">
              <a:extLst>
                <a:ext uri="{FF2B5EF4-FFF2-40B4-BE49-F238E27FC236}">
                  <a16:creationId xmlns:a16="http://schemas.microsoft.com/office/drawing/2014/main" id="{97C3C931-3680-4F2F-9C0A-F0AC0188B763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78" name="Freeform 7">
                <a:extLst>
                  <a:ext uri="{FF2B5EF4-FFF2-40B4-BE49-F238E27FC236}">
                    <a16:creationId xmlns:a16="http://schemas.microsoft.com/office/drawing/2014/main" id="{48EE78C4-2ACE-48F2-A407-A34141AA6F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79" name="Freeform 8">
                <a:extLst>
                  <a:ext uri="{FF2B5EF4-FFF2-40B4-BE49-F238E27FC236}">
                    <a16:creationId xmlns:a16="http://schemas.microsoft.com/office/drawing/2014/main" id="{E5CA907D-D372-4599-85D9-55D98620D9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0" name="Freeform 9">
                <a:extLst>
                  <a:ext uri="{FF2B5EF4-FFF2-40B4-BE49-F238E27FC236}">
                    <a16:creationId xmlns:a16="http://schemas.microsoft.com/office/drawing/2014/main" id="{ACCFFCF8-2487-4783-82D6-31D90EFED7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1" name="Freeform 10">
                <a:extLst>
                  <a:ext uri="{FF2B5EF4-FFF2-40B4-BE49-F238E27FC236}">
                    <a16:creationId xmlns:a16="http://schemas.microsoft.com/office/drawing/2014/main" id="{122D8716-CC65-435B-A7F5-76641D0009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2" name="Freeform 11">
                <a:extLst>
                  <a:ext uri="{FF2B5EF4-FFF2-40B4-BE49-F238E27FC236}">
                    <a16:creationId xmlns:a16="http://schemas.microsoft.com/office/drawing/2014/main" id="{D09F0330-0835-4449-BFCA-411AAA5B03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3" name="Freeform 12">
                <a:extLst>
                  <a:ext uri="{FF2B5EF4-FFF2-40B4-BE49-F238E27FC236}">
                    <a16:creationId xmlns:a16="http://schemas.microsoft.com/office/drawing/2014/main" id="{D242E678-8652-4C8F-A9E6-92E77EFCC9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4" name="Freeform 13">
                <a:extLst>
                  <a:ext uri="{FF2B5EF4-FFF2-40B4-BE49-F238E27FC236}">
                    <a16:creationId xmlns:a16="http://schemas.microsoft.com/office/drawing/2014/main" id="{ACC93D24-E498-4606-963A-3666B19236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5" name="Freeform 14">
                <a:extLst>
                  <a:ext uri="{FF2B5EF4-FFF2-40B4-BE49-F238E27FC236}">
                    <a16:creationId xmlns:a16="http://schemas.microsoft.com/office/drawing/2014/main" id="{AA4821B1-BC64-404A-A60F-21DD1D73B6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6" name="Freeform 15">
                <a:extLst>
                  <a:ext uri="{FF2B5EF4-FFF2-40B4-BE49-F238E27FC236}">
                    <a16:creationId xmlns:a16="http://schemas.microsoft.com/office/drawing/2014/main" id="{BB7B10B1-8F28-40DD-9070-C3A8B66DF1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7" name="Freeform 16">
                <a:extLst>
                  <a:ext uri="{FF2B5EF4-FFF2-40B4-BE49-F238E27FC236}">
                    <a16:creationId xmlns:a16="http://schemas.microsoft.com/office/drawing/2014/main" id="{CD98CD83-2903-4BF0-92D8-3AEBA4C68D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88" name="Untertitel 2">
            <a:extLst>
              <a:ext uri="{FF2B5EF4-FFF2-40B4-BE49-F238E27FC236}">
                <a16:creationId xmlns:a16="http://schemas.microsoft.com/office/drawing/2014/main" id="{B182D324-706C-4B4B-B0E1-762F704723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89" name="Datumsplatzhalter 2">
            <a:extLst>
              <a:ext uri="{FF2B5EF4-FFF2-40B4-BE49-F238E27FC236}">
                <a16:creationId xmlns:a16="http://schemas.microsoft.com/office/drawing/2014/main" id="{EAB13623-1E61-49E9-86E6-69D66849C70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97249EE2-EC31-423C-9003-BDCC62169DA9}" type="datetime1">
              <a:rPr lang="de-DE" smtClean="0"/>
              <a:t>2022-01-12</a:t>
            </a:fld>
            <a:endParaRPr lang="de-DE"/>
          </a:p>
        </p:txBody>
      </p:sp>
      <p:sp>
        <p:nvSpPr>
          <p:cNvPr id="90" name="Fußzeilenplatzhalter 3">
            <a:extLst>
              <a:ext uri="{FF2B5EF4-FFF2-40B4-BE49-F238E27FC236}">
                <a16:creationId xmlns:a16="http://schemas.microsoft.com/office/drawing/2014/main" id="{959B466E-EFC2-4535-8E5D-8512F1C13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1" name="Foliennummernplatzhalter 5">
            <a:extLst>
              <a:ext uri="{FF2B5EF4-FFF2-40B4-BE49-F238E27FC236}">
                <a16:creationId xmlns:a16="http://schemas.microsoft.com/office/drawing/2014/main" id="{92C05B7D-E310-4914-AD1E-CD201C37A8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7CB73F9C-7404-4DF7-9BA2-F74C112F24E2}"/>
              </a:ext>
            </a:extLst>
          </p:cNvPr>
          <p:cNvSpPr txBox="1">
            <a:spLocks/>
          </p:cNvSpPr>
          <p:nvPr userDrawn="1"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93" name="Textfeld 92">
            <a:extLst>
              <a:ext uri="{FF2B5EF4-FFF2-40B4-BE49-F238E27FC236}">
                <a16:creationId xmlns:a16="http://schemas.microsoft.com/office/drawing/2014/main" id="{94EFD995-85F2-4B7B-A60A-28EA9366F6B3}"/>
              </a:ext>
            </a:extLst>
          </p:cNvPr>
          <p:cNvSpPr txBox="1">
            <a:spLocks/>
          </p:cNvSpPr>
          <p:nvPr userDrawn="1"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1582667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435B935F-3CE1-426B-ACBB-CC856A95BE0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8CCD7F9C-96EA-486E-A746-640CF133984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42ABD01-4783-465B-922D-9C11AEBC2FF1}"/>
              </a:ext>
            </a:extLst>
          </p:cNvPr>
          <p:cNvGrpSpPr/>
          <p:nvPr userDrawn="1"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2ECC3510-0BDD-416D-A711-A8567EB76D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6B842A0A-4FAF-4A91-9C17-60CBF9EE7E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B34D0E4F-ABE3-42EE-B8F4-00F4533D967A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5" name="Freeform 7">
                <a:extLst>
                  <a:ext uri="{FF2B5EF4-FFF2-40B4-BE49-F238E27FC236}">
                    <a16:creationId xmlns:a16="http://schemas.microsoft.com/office/drawing/2014/main" id="{8EBFC249-1DCC-4F3D-A11B-EDEF5AC3B1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8">
                <a:extLst>
                  <a:ext uri="{FF2B5EF4-FFF2-40B4-BE49-F238E27FC236}">
                    <a16:creationId xmlns:a16="http://schemas.microsoft.com/office/drawing/2014/main" id="{4FACFBD1-3F5B-4518-B022-9D8A8A40C8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9">
                <a:extLst>
                  <a:ext uri="{FF2B5EF4-FFF2-40B4-BE49-F238E27FC236}">
                    <a16:creationId xmlns:a16="http://schemas.microsoft.com/office/drawing/2014/main" id="{4A657C7E-1E53-418B-BCD7-F37ED08DA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0">
                <a:extLst>
                  <a:ext uri="{FF2B5EF4-FFF2-40B4-BE49-F238E27FC236}">
                    <a16:creationId xmlns:a16="http://schemas.microsoft.com/office/drawing/2014/main" id="{AD9FB43F-10EF-44CF-B17E-0D49597C72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1">
                <a:extLst>
                  <a:ext uri="{FF2B5EF4-FFF2-40B4-BE49-F238E27FC236}">
                    <a16:creationId xmlns:a16="http://schemas.microsoft.com/office/drawing/2014/main" id="{E72A5C80-62B0-40B5-9017-754BA20921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2">
                <a:extLst>
                  <a:ext uri="{FF2B5EF4-FFF2-40B4-BE49-F238E27FC236}">
                    <a16:creationId xmlns:a16="http://schemas.microsoft.com/office/drawing/2014/main" id="{162EC822-8A93-473A-8293-398425458B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3">
                <a:extLst>
                  <a:ext uri="{FF2B5EF4-FFF2-40B4-BE49-F238E27FC236}">
                    <a16:creationId xmlns:a16="http://schemas.microsoft.com/office/drawing/2014/main" id="{C93EC3FC-B54D-4A73-99FE-3C7EAA64EA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4">
                <a:extLst>
                  <a:ext uri="{FF2B5EF4-FFF2-40B4-BE49-F238E27FC236}">
                    <a16:creationId xmlns:a16="http://schemas.microsoft.com/office/drawing/2014/main" id="{C2F3DE1D-0C56-48C9-9F5F-02D6F7C710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5">
                <a:extLst>
                  <a:ext uri="{FF2B5EF4-FFF2-40B4-BE49-F238E27FC236}">
                    <a16:creationId xmlns:a16="http://schemas.microsoft.com/office/drawing/2014/main" id="{A940E741-2C0C-4F2A-94BA-0F8C57F4A0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6">
                <a:extLst>
                  <a:ext uri="{FF2B5EF4-FFF2-40B4-BE49-F238E27FC236}">
                    <a16:creationId xmlns:a16="http://schemas.microsoft.com/office/drawing/2014/main" id="{C1F984D3-FF1A-461B-A68D-0A55217AD9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5B6BE4A4-94C5-4665-9820-26D2838597AD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1F112979-5ADB-4D31-A276-58C4B3B8862E}" type="datetime1">
              <a:rPr lang="de-DE" smtClean="0"/>
              <a:t>2022-01-12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41DFDEE5-C952-4E85-A328-F9EC1FD0F4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4">
            <a:extLst>
              <a:ext uri="{FF2B5EF4-FFF2-40B4-BE49-F238E27FC236}">
                <a16:creationId xmlns:a16="http://schemas.microsoft.com/office/drawing/2014/main" id="{C0FB04B6-F1B9-44FC-A564-6FFFB8F80BE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Untertitel 2">
            <a:extLst>
              <a:ext uri="{FF2B5EF4-FFF2-40B4-BE49-F238E27FC236}">
                <a16:creationId xmlns:a16="http://schemas.microsoft.com/office/drawing/2014/main" id="{C6B27147-8B2D-4C17-AA77-D3565300D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CBA710CE-10B5-4C03-B16D-7A91DA4405F3}"/>
              </a:ext>
            </a:extLst>
          </p:cNvPr>
          <p:cNvSpPr txBox="1">
            <a:spLocks/>
          </p:cNvSpPr>
          <p:nvPr userDrawn="1"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7030544-A8FA-475D-8C9E-1A214F690BF6}"/>
              </a:ext>
            </a:extLst>
          </p:cNvPr>
          <p:cNvSpPr txBox="1">
            <a:spLocks/>
          </p:cNvSpPr>
          <p:nvPr userDrawn="1"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3141858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1CCB0A27-E3D6-436B-A39F-2FCA566FB411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86919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_LichtBli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01717EDB-ABC8-438A-B6CB-20B115C6D1A2}" type="datetime1">
              <a:rPr lang="de-DE" smtClean="0"/>
              <a:t>2022-01-12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4314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 userDrawn="1"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 userDrawn="1"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AD3E0CE1-A5C1-48EA-B20F-86EE423816DF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8344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 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A82B189B-C25F-4A12-9DB3-5D7345D847E3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4165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E5F141FA-A9D5-4762-82F9-00DDC409A13C}" type="datetime1">
              <a:rPr lang="de-DE" smtClean="0"/>
              <a:t>2022-01-12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 userDrawn="1"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3620A67-701F-4A72-8B7E-CD8F1219791E}"/>
              </a:ext>
            </a:extLst>
          </p:cNvPr>
          <p:cNvGrpSpPr/>
          <p:nvPr userDrawn="1"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9DB51519-212F-4F9C-A8F0-CD205DEB5C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4FA49F84-6C42-4DB9-BBD7-03D2B51051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65D3213F-ECAE-4FF2-8704-4FEEDBE339F0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22E2667-2878-43D2-9F15-F7CEE1025C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707F320C-16FC-4FE5-91EC-B7E2D0D677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C41667E5-D027-4E3F-AE8D-D0DA61F914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8429D5A7-5EB1-4F0A-8001-9D6589ED82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8B38EFD7-69C6-438A-B275-69A9A6E90C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3A792FA5-9746-4A13-AB69-129DED9096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94C5166C-CEB1-4E4C-8031-569B5A5AD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FAD93053-B1D2-43A0-AD0A-45BA4123B0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B793DECC-AF70-4555-87F4-4C604089E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8A47073C-4124-4E90-83B0-4220A985EB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66084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 userDrawn="1"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D6986A1-F054-4309-AD7C-B7F0FFC21F23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790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3441832-CABC-4B2B-9A8F-52E8F7E5BB2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AEF97438-952F-4ED2-88FF-866BC970AAF7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0560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 userDrawn="1"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C9DD2979-0EA1-4309-B5A5-B2CB8888A5E1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8B0742D8-C6F9-4208-9FBD-2C97B1428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tx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3D94055D-D184-4607-84E0-82BDD3BEB33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0363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0A784CB1-0E6F-47E4-A75B-B5ED3C02613B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137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 Voll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13870A4A-B829-4144-B745-58A80E436F14}" type="datetime1">
              <a:rPr lang="de-DE" smtClean="0"/>
              <a:t>2022-01-1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8946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 userDrawn="1"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EA7AC93-A163-4E47-9345-4162944A00A4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7A2566E7-C72F-4F20-843B-97B11B2AE3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88030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21464E24-6609-4E3D-BEE4-57DDF699C6F9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EAA66BB2-33DC-47E3-A8EA-06C1C8EE99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839262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D4EACCFD-52F0-45FD-99B3-83EA83D97D2F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6601FC1B-771F-4993-88C6-C265E8C9B2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7718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396F4FC-F904-4D74-BEAF-C51235B04630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227F9FFE-E277-4A36-BB69-A24DB7C013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95335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folie Vollbild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36C60506-D0C3-4808-9862-296AA4B83497}" type="datetime1">
              <a:rPr lang="de-DE" smtClean="0"/>
              <a:t>2022-01-1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176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3EE966F-8D1D-49C9-B4C5-AE93F824D2FA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EC97D640-6B3B-4482-984E-058A4D573E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75105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F310423-D57E-40B7-BA67-7C978BF81788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D6366927-90FB-43C4-90DE-8D43A3B8962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98726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D5B8BBCE-B55F-4552-B430-973C53E0EC29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97F88236-EA43-4029-90D7-41D35FBC1B2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023534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3B1D2E1-894C-463B-9C72-760167529477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B04FDCBC-2809-43F8-B841-D7DD67681EB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149171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CCD9FFDD-9BB5-4BE1-84EB-7A062A112EC5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111F0F8-1EE1-415F-B024-BA205606A8C3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2D7A1028-999B-4854-BF34-82DF67E307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47868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9AF2291-96AD-478B-91F2-1CCF007AEFAF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A296AC21-E0D0-4C91-908F-3BC0678ED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98425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Handy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42E96BDD-39A8-4207-B404-F1369215241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AF7ADD7-D0A3-4130-AB1D-7CF30A147D42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3117FBB9-DB8A-40F5-931C-028B0F88F9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7715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936841C3-C392-43BC-AF60-72446A294FA0}"/>
              </a:ext>
            </a:extLst>
          </p:cNvPr>
          <p:cNvSpPr/>
          <p:nvPr userDrawn="1"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E4B83A7-E416-4B6A-B0DC-BD466CCA6755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7348B35B-FEE6-4F6B-A663-190AD0ABB1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33855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C6045785-0D42-49CF-BB17-6F6A45D60050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CF4EF08-31CC-4AE8-93A2-1C64389F6056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C5836239-1D04-44A3-AAA9-917A73B2CE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233096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F5C89477-4522-4178-A3CF-4BFB111F6E05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1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1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6"/>
            <a:ext cx="3821114" cy="1008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6"/>
            <a:ext cx="3821114" cy="1008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976231A2-CE65-496D-8AEA-F275735E3C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8022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824B22F2-4CA8-4D6F-A1C0-EA80845E57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65B6467-577A-42C4-A6DA-B169ED080105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2144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3E3D41D4-0909-49A4-AD57-ACDA6752E063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4F9DBBC9-FA8B-496C-8FE5-C495B75580C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965345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78216B81-6A93-423D-A925-C36B0699A162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C14B58CB-28C0-4E82-A4BC-8BFBB3EED94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77EBA76F-BAD9-46BE-BD45-4F48248A3D1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5519A44C-C8A9-4A1D-8C11-53F9CB85E18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9FDB38EF-879F-4CC0-9244-9B339BD4D46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5041F5FB-BC44-4093-AE7B-CD10430091A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</p:spTree>
    <p:extLst>
      <p:ext uri="{BB962C8B-B14F-4D97-AF65-F5344CB8AC3E}">
        <p14:creationId xmlns:p14="http://schemas.microsoft.com/office/powerpoint/2010/main" val="1244728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76EEC71E-0492-4302-A3F3-3A817715DE3B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ECA3A5F9-E289-4294-9F7A-29E9AEC3A3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12AFD144-3B50-4F91-8441-182543910C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id="{7C55FB76-330C-43C1-A6D1-95F39328501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B695A75E-3972-4898-9709-54E11C52759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5" name="Textplatzhalter 8">
            <a:extLst>
              <a:ext uri="{FF2B5EF4-FFF2-40B4-BE49-F238E27FC236}">
                <a16:creationId xmlns:a16="http://schemas.microsoft.com/office/drawing/2014/main" id="{B4AC352C-8BFA-4B04-8161-F39F41D11A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6" name="Textplatzhalter 8">
            <a:extLst>
              <a:ext uri="{FF2B5EF4-FFF2-40B4-BE49-F238E27FC236}">
                <a16:creationId xmlns:a16="http://schemas.microsoft.com/office/drawing/2014/main" id="{F0836A57-2522-4CEC-9F8E-D6F07EFC234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id="{F33FFE5C-656A-45E8-8AD7-C79684EDA49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1948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18CE324C-12F7-4C53-A5C7-7CF423A5537C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05E0ABBB-6B85-4DD8-AFE0-17595577E6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076E981C-747C-4789-BEBC-9FFFDD48A1D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B78C76E7-E70A-47C0-B458-99BAA724CAD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B0BE9B6B-88C7-48AA-BE5E-5ABE9128C95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E26049C7-2845-4FB3-90F5-9574A388A16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84FAB454-88E4-44EE-9463-92927AA8018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9F77B410-84CB-48D3-924D-25994EC215E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22C6F66F-ACB0-42BC-92D9-F7593F289F1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C97F651B-2DD3-45B9-ABD0-E827EE6AA71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65906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F0D4CB0E-8DA6-434C-8431-2770F0D197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A309E3CC-5A15-4505-A33B-F4367BF50478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2B06885D-D5DD-40DC-A2A4-AB235E843A95}"/>
              </a:ext>
            </a:extLst>
          </p:cNvPr>
          <p:cNvGrpSpPr/>
          <p:nvPr userDrawn="1"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9580770A-3284-4E17-8B2A-730B0255C2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04661837-A7D9-40F6-BF29-101332C98C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3B52F90F-7706-44F7-8023-C9FADBAD09F8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DAF85518-3C28-40C3-8169-575B41E3FF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135463DE-9D9D-4F47-863F-E3572C9A70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70D927A1-67CD-4B68-A5E0-EDC0FC4211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CCFAD615-9DD7-4130-9847-58EDC00EEB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482FC7A6-7D75-4EE5-BBCF-444F7A7C8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BB81F49F-F441-4637-B438-001B9EDEA2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F3B62D74-6751-4CEA-9410-45108304F2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3047EA05-353C-4E32-98A7-8721494D5D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A9AAA4DE-3176-4AFF-A68E-05E555AC99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3C15F6A8-29EB-4D5C-8A12-121356099F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Untertitel 2">
            <a:extLst>
              <a:ext uri="{FF2B5EF4-FFF2-40B4-BE49-F238E27FC236}">
                <a16:creationId xmlns:a16="http://schemas.microsoft.com/office/drawing/2014/main" id="{61AE2B7A-25E9-4A5E-9FFD-10CE71373F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1BF12963-66E8-43CB-B587-0CFB1310E1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118BF3EB-A177-478A-85AA-D5CBF4E4FB8C}" type="datetime1">
              <a:rPr lang="de-DE" smtClean="0"/>
              <a:t>2022-01-12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09F7EFF7-52FF-4102-9EC8-DE3246C08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5">
            <a:extLst>
              <a:ext uri="{FF2B5EF4-FFF2-40B4-BE49-F238E27FC236}">
                <a16:creationId xmlns:a16="http://schemas.microsoft.com/office/drawing/2014/main" id="{E39A23B0-7A22-45D6-BC9A-327391C0B1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451A047A-8576-45C1-8C2D-AA9B1C88D960}"/>
              </a:ext>
            </a:extLst>
          </p:cNvPr>
          <p:cNvSpPr txBox="1">
            <a:spLocks/>
          </p:cNvSpPr>
          <p:nvPr userDrawn="1"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C9B75902-53ED-4DCF-9380-3D806E11D1CF}"/>
              </a:ext>
            </a:extLst>
          </p:cNvPr>
          <p:cNvSpPr txBox="1">
            <a:spLocks/>
          </p:cNvSpPr>
          <p:nvPr userDrawn="1"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1935763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0E7B6854-638B-4BA3-B8C0-C2DD0F037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53483877-EF50-4218-89F2-F79BFAD83C2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49B03EF8-387D-48D9-B22A-1CC400BEFB66}"/>
              </a:ext>
            </a:extLst>
          </p:cNvPr>
          <p:cNvGrpSpPr/>
          <p:nvPr userDrawn="1"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1F86FC42-63DF-4B4F-B05E-CA0FDB131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D7EDA9F3-1D79-472C-8032-70DF6D0D84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4D68749B-163A-4742-9919-16502779701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5" name="Freeform 7">
                <a:extLst>
                  <a:ext uri="{FF2B5EF4-FFF2-40B4-BE49-F238E27FC236}">
                    <a16:creationId xmlns:a16="http://schemas.microsoft.com/office/drawing/2014/main" id="{288585EC-19F5-4489-A3BD-1C8044A7A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8">
                <a:extLst>
                  <a:ext uri="{FF2B5EF4-FFF2-40B4-BE49-F238E27FC236}">
                    <a16:creationId xmlns:a16="http://schemas.microsoft.com/office/drawing/2014/main" id="{2DCFA071-14B5-4E54-A5D1-9D96F24FC2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9">
                <a:extLst>
                  <a:ext uri="{FF2B5EF4-FFF2-40B4-BE49-F238E27FC236}">
                    <a16:creationId xmlns:a16="http://schemas.microsoft.com/office/drawing/2014/main" id="{981A99C0-4EB0-46EB-9C09-6B5A37EB6A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0">
                <a:extLst>
                  <a:ext uri="{FF2B5EF4-FFF2-40B4-BE49-F238E27FC236}">
                    <a16:creationId xmlns:a16="http://schemas.microsoft.com/office/drawing/2014/main" id="{29554CC0-9306-4393-B6DE-554748141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1">
                <a:extLst>
                  <a:ext uri="{FF2B5EF4-FFF2-40B4-BE49-F238E27FC236}">
                    <a16:creationId xmlns:a16="http://schemas.microsoft.com/office/drawing/2014/main" id="{29E410D9-875F-4F4D-9DD5-B9B872484B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2">
                <a:extLst>
                  <a:ext uri="{FF2B5EF4-FFF2-40B4-BE49-F238E27FC236}">
                    <a16:creationId xmlns:a16="http://schemas.microsoft.com/office/drawing/2014/main" id="{AB183432-001A-4D6E-831F-F73060943D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3">
                <a:extLst>
                  <a:ext uri="{FF2B5EF4-FFF2-40B4-BE49-F238E27FC236}">
                    <a16:creationId xmlns:a16="http://schemas.microsoft.com/office/drawing/2014/main" id="{8BD54144-F359-4DB4-BF18-728D875B9D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4">
                <a:extLst>
                  <a:ext uri="{FF2B5EF4-FFF2-40B4-BE49-F238E27FC236}">
                    <a16:creationId xmlns:a16="http://schemas.microsoft.com/office/drawing/2014/main" id="{2801A43F-3638-4B4A-9DB1-A6675112EE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5">
                <a:extLst>
                  <a:ext uri="{FF2B5EF4-FFF2-40B4-BE49-F238E27FC236}">
                    <a16:creationId xmlns:a16="http://schemas.microsoft.com/office/drawing/2014/main" id="{42DD607F-9D04-450D-83A2-9EE16A86B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6">
                <a:extLst>
                  <a:ext uri="{FF2B5EF4-FFF2-40B4-BE49-F238E27FC236}">
                    <a16:creationId xmlns:a16="http://schemas.microsoft.com/office/drawing/2014/main" id="{FA6E9886-9CDF-4CA7-809D-E845FFB2D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1C131CCB-D287-4F99-ACD5-E195B824C2E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417EB9C6-0A29-4DEE-A3AE-9307F35AA263}" type="datetime1">
              <a:rPr lang="de-DE" smtClean="0"/>
              <a:t>2022-01-12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3379F872-4B4B-4978-9B25-9B4D0BF4FB6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4">
            <a:extLst>
              <a:ext uri="{FF2B5EF4-FFF2-40B4-BE49-F238E27FC236}">
                <a16:creationId xmlns:a16="http://schemas.microsoft.com/office/drawing/2014/main" id="{B9717823-C956-4484-AE3E-A5607602A27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Untertitel 2">
            <a:extLst>
              <a:ext uri="{FF2B5EF4-FFF2-40B4-BE49-F238E27FC236}">
                <a16:creationId xmlns:a16="http://schemas.microsoft.com/office/drawing/2014/main" id="{3F5F84D4-57CD-49CF-950C-A85531B76F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D20993E3-363E-4106-B73C-5D0DA46D9068}"/>
              </a:ext>
            </a:extLst>
          </p:cNvPr>
          <p:cNvSpPr txBox="1">
            <a:spLocks/>
          </p:cNvSpPr>
          <p:nvPr userDrawn="1"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5CF4727-6E17-4EB8-A7E6-D012B0559DE7}"/>
              </a:ext>
            </a:extLst>
          </p:cNvPr>
          <p:cNvSpPr txBox="1">
            <a:spLocks/>
          </p:cNvSpPr>
          <p:nvPr userDrawn="1"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3616537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8A2E5517-5641-4CDB-8528-13609566E666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07365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qua_LichtBli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5F24D4FF-6B91-4CA5-8F54-B130B414BC27}" type="datetime1">
              <a:rPr lang="de-DE" smtClean="0"/>
              <a:t>2022-01-12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9031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 userDrawn="1"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 userDrawn="1"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1E43D60A-5C14-4CDB-A68F-A82EF60A4D95}" type="datetime1">
              <a:rPr lang="de-DE" smtClean="0"/>
              <a:t>2022-01-12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696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90F33C39-D0FD-43A5-84AE-AE98943869A4}" type="datetime1">
              <a:rPr lang="de-DE" smtClean="0"/>
              <a:t>2022-01-12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 userDrawn="1"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960630F4-9B55-45DF-825F-C409C8C4862C}"/>
              </a:ext>
            </a:extLst>
          </p:cNvPr>
          <p:cNvGrpSpPr/>
          <p:nvPr userDrawn="1"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C35C7C36-CB92-44AC-B70C-E764CFAF7C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76FD8F2B-0E6F-4041-893F-F38564957F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DD16F6EB-D8C5-4769-A757-1355C9129604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E16AF8EA-BAED-4ADB-A064-AAB2A6D772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8A34DC58-A5E5-42EC-82F0-6668CC23F7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945DBB8B-F08D-4346-BDB9-5874D3409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358F3448-F75C-4B81-84F6-4293F5A6E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AFDBDFDA-3120-45A7-8904-C391627A0A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3FA59CA-D93C-4178-A594-4A20145B33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E406306F-CC62-47F1-91A4-27C6591D5A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7A2D090E-58D1-41D0-BF27-A29FA74B30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96258A70-8CE8-4628-9F59-64111CBC2B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A0AF6C91-3076-42CF-914D-26D1C6407B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71209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foli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AB21CAED-94CB-4257-A8CB-B2D38672CE66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DFAD810F-0319-4C39-9937-B53CE8D33B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2327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 userDrawn="1"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147B29FE-E225-4E80-A495-8909F85F1E8D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654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99C6C7-A18A-4D1D-B042-D4DE941638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6E0E7ED3-BC28-4BD4-9644-605E8AD42195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4314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 userDrawn="1"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D759950E-A3EA-4E7A-9392-D4D48E61930B}" type="datetime1">
              <a:rPr lang="de-DE" smtClean="0"/>
              <a:t>2022-01-1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639D86B9-94E0-4C8A-A9A2-B2DD0C8D5E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14C6B305-C6DD-4DD5-B772-1A64FDF8A8CE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723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300F788D-B523-40CC-BE4C-93A56AD4F4AE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256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 Voll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DE834727-3DC2-4D6E-9F3D-8112C5918450}" type="datetime1">
              <a:rPr lang="de-DE" smtClean="0"/>
              <a:t>2022-01-1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891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 userDrawn="1"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951A2176-1130-4E92-954B-A6D1F1B35EB3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EC4877E5-897F-4F31-B6C0-F68FF3DF5C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42024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9B7928BF-D314-4033-9D02-9EF935DE8189}" type="datetime1">
              <a:rPr lang="de-DE" smtClean="0"/>
              <a:t>2022-01-1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1DD650F0-E09E-49BE-B253-CB579D56F6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79886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31ADB824-A8A9-481D-AC38-00098CAA28BF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B34C0EB0-8DD4-449C-BA9B-AF3E2F5DAD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022612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D157C96-7824-4CA4-A116-D6A1ED3DAE8F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DCE0F3FC-039B-43D9-A455-6ABFC1882B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557592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B4754C8-0A1C-489C-9090-D084EB5FD875}" type="datetime1">
              <a:rPr lang="de-DE" smtClean="0"/>
              <a:t>2022-01-1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DA948FB6-FC47-446E-A416-A76D90A0FD9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19917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slideLayout" Target="../slideLayouts/slideLayout87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29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26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19.xml"/><Relationship Id="rId21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5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slideLayout" Target="../slideLayouts/slideLayout136.xml"/><Relationship Id="rId29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24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23" Type="http://schemas.openxmlformats.org/officeDocument/2006/relationships/slideLayout" Target="../slideLayouts/slideLayout139.xml"/><Relationship Id="rId28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126.xml"/><Relationship Id="rId19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slideLayout" Target="../slideLayouts/slideLayout138.xml"/><Relationship Id="rId27" Type="http://schemas.openxmlformats.org/officeDocument/2006/relationships/slideLayout" Target="../slideLayouts/slideLayout143.xml"/><Relationship Id="rId30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8.xml"/><Relationship Id="rId18" Type="http://schemas.openxmlformats.org/officeDocument/2006/relationships/slideLayout" Target="../slideLayouts/slideLayout163.xml"/><Relationship Id="rId26" Type="http://schemas.openxmlformats.org/officeDocument/2006/relationships/slideLayout" Target="../slideLayouts/slideLayout171.xml"/><Relationship Id="rId3" Type="http://schemas.openxmlformats.org/officeDocument/2006/relationships/slideLayout" Target="../slideLayouts/slideLayout148.xml"/><Relationship Id="rId21" Type="http://schemas.openxmlformats.org/officeDocument/2006/relationships/slideLayout" Target="../slideLayouts/slideLayout166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57.xml"/><Relationship Id="rId17" Type="http://schemas.openxmlformats.org/officeDocument/2006/relationships/slideLayout" Target="../slideLayouts/slideLayout162.xml"/><Relationship Id="rId25" Type="http://schemas.openxmlformats.org/officeDocument/2006/relationships/slideLayout" Target="../slideLayouts/slideLayout170.xml"/><Relationship Id="rId33" Type="http://schemas.openxmlformats.org/officeDocument/2006/relationships/oleObject" Target="../embeddings/oleObject2.bin"/><Relationship Id="rId2" Type="http://schemas.openxmlformats.org/officeDocument/2006/relationships/slideLayout" Target="../slideLayouts/slideLayout147.xml"/><Relationship Id="rId16" Type="http://schemas.openxmlformats.org/officeDocument/2006/relationships/slideLayout" Target="../slideLayouts/slideLayout161.xml"/><Relationship Id="rId20" Type="http://schemas.openxmlformats.org/officeDocument/2006/relationships/slideLayout" Target="../slideLayouts/slideLayout165.xml"/><Relationship Id="rId29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24" Type="http://schemas.openxmlformats.org/officeDocument/2006/relationships/slideLayout" Target="../slideLayouts/slideLayout169.xml"/><Relationship Id="rId32" Type="http://schemas.openxmlformats.org/officeDocument/2006/relationships/tags" Target="../tags/tag5.xml"/><Relationship Id="rId5" Type="http://schemas.openxmlformats.org/officeDocument/2006/relationships/slideLayout" Target="../slideLayouts/slideLayout150.xml"/><Relationship Id="rId15" Type="http://schemas.openxmlformats.org/officeDocument/2006/relationships/slideLayout" Target="../slideLayouts/slideLayout160.xml"/><Relationship Id="rId23" Type="http://schemas.openxmlformats.org/officeDocument/2006/relationships/slideLayout" Target="../slideLayouts/slideLayout168.xml"/><Relationship Id="rId28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55.xml"/><Relationship Id="rId19" Type="http://schemas.openxmlformats.org/officeDocument/2006/relationships/slideLayout" Target="../slideLayouts/slideLayout164.xml"/><Relationship Id="rId31" Type="http://schemas.openxmlformats.org/officeDocument/2006/relationships/tags" Target="../tags/tag4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4" Type="http://schemas.openxmlformats.org/officeDocument/2006/relationships/slideLayout" Target="../slideLayouts/slideLayout159.xml"/><Relationship Id="rId22" Type="http://schemas.openxmlformats.org/officeDocument/2006/relationships/slideLayout" Target="../slideLayouts/slideLayout167.xml"/><Relationship Id="rId27" Type="http://schemas.openxmlformats.org/officeDocument/2006/relationships/slideLayout" Target="../slideLayouts/slideLayout172.xml"/><Relationship Id="rId30" Type="http://schemas.openxmlformats.org/officeDocument/2006/relationships/theme" Target="../theme/theme6.xml"/><Relationship Id="rId8" Type="http://schemas.openxmlformats.org/officeDocument/2006/relationships/slideLayout" Target="../slideLayouts/slideLayout1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713D95F6-3C7B-4D08-A11D-D3909A1CCF28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4D88CDC6-5388-456A-9720-DC3DB88D03E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6">
            <a:extLst>
              <a:ext uri="{FF2B5EF4-FFF2-40B4-BE49-F238E27FC236}">
                <a16:creationId xmlns:a16="http://schemas.microsoft.com/office/drawing/2014/main" id="{D1454764-EFB9-4832-B2A4-C4ACCC03E15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" name="Objekt 14" hidden="1">
            <a:extLst>
              <a:ext uri="{FF2B5EF4-FFF2-40B4-BE49-F238E27FC236}">
                <a16:creationId xmlns:a16="http://schemas.microsoft.com/office/drawing/2014/main" id="{1BFDCA5D-BBB2-4BB3-B133-E8A0ECF065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794239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344" imgH="345" progId="TCLayout.ActiveDocument.1">
                  <p:embed/>
                </p:oleObj>
              </mc:Choice>
              <mc:Fallback>
                <p:oleObj name="think-cell Folie" r:id="rId33" imgW="344" imgH="345" progId="TCLayout.ActiveDocument.1">
                  <p:embed/>
                  <p:pic>
                    <p:nvPicPr>
                      <p:cNvPr id="46" name="Objekt 14" hidden="1">
                        <a:extLst>
                          <a:ext uri="{FF2B5EF4-FFF2-40B4-BE49-F238E27FC236}">
                            <a16:creationId xmlns:a16="http://schemas.microsoft.com/office/drawing/2014/main" id="{1BFDCA5D-BBB2-4BB3-B133-E8A0ECF065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hteck 13" hidden="1">
            <a:extLst>
              <a:ext uri="{FF2B5EF4-FFF2-40B4-BE49-F238E27FC236}">
                <a16:creationId xmlns:a16="http://schemas.microsoft.com/office/drawing/2014/main" id="{65ADB6CE-57D6-410A-915E-BB6DF3B97572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200" b="0" i="0" baseline="0">
              <a:latin typeface="Franklin Gothic Medium" panose="020B0603020102020204" pitchFamily="34" charset="0"/>
              <a:ea typeface="+mj-ea"/>
              <a:cs typeface="+mj-cs"/>
              <a:sym typeface="Franklin Gothic Medium" panose="020B0603020102020204" pitchFamily="34" charset="0"/>
            </a:endParaRPr>
          </a:p>
        </p:txBody>
      </p:sp>
      <p:sp>
        <p:nvSpPr>
          <p:cNvPr id="50" name="Titel 1">
            <a:extLst>
              <a:ext uri="{FF2B5EF4-FFF2-40B4-BE49-F238E27FC236}">
                <a16:creationId xmlns:a16="http://schemas.microsoft.com/office/drawing/2014/main" id="{E3DE531E-067D-492E-8281-5AE2C1C14B8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71364" y="6495967"/>
            <a:ext cx="810603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900">
                <a:solidFill>
                  <a:schemeClr val="tx2"/>
                </a:solidFill>
                <a:latin typeface="+mn-lt"/>
              </a:rPr>
              <a:t>LichtBlick SE</a:t>
            </a:r>
          </a:p>
        </p:txBody>
      </p:sp>
      <p:sp>
        <p:nvSpPr>
          <p:cNvPr id="51" name="Rechteck 9">
            <a:extLst>
              <a:ext uri="{FF2B5EF4-FFF2-40B4-BE49-F238E27FC236}">
                <a16:creationId xmlns:a16="http://schemas.microsoft.com/office/drawing/2014/main" id="{31736919-C751-4273-827D-960577EA1F7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  <a:ln w="6350">
            <a:solidFill>
              <a:srgbClr val="DCDCD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 w="6350">
                <a:solidFill>
                  <a:schemeClr val="tx1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1850825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1" r:id="rId28"/>
    <p:sldLayoutId id="2147483692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  <p15:guide id="32" pos="234" userDrawn="1">
          <p15:clr>
            <a:srgbClr val="F26B43"/>
          </p15:clr>
        </p15:guide>
        <p15:guide id="33" pos="7446" userDrawn="1">
          <p15:clr>
            <a:srgbClr val="F26B43"/>
          </p15:clr>
        </p15:guide>
        <p15:guide id="34" orient="horz" pos="935" userDrawn="1">
          <p15:clr>
            <a:srgbClr val="F26B43"/>
          </p15:clr>
        </p15:guide>
        <p15:guide id="35" orient="horz" pos="3997" userDrawn="1">
          <p15:clr>
            <a:srgbClr val="F26B43"/>
          </p15:clr>
        </p15:guide>
        <p15:guide id="36" pos="3976" userDrawn="1">
          <p15:clr>
            <a:srgbClr val="F26B43"/>
          </p15:clr>
        </p15:guide>
        <p15:guide id="37" pos="37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7091EE96-A322-4F28-A375-4F75990E4AC4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E6732B1C-C1BC-4B90-8EC1-F4F2A5FB3F4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624F4BC0-A11B-44E1-9607-90FC8940314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8769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CDF905DE-23FB-4369-A01E-079D9BBBD66B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95F228BC-9A41-463D-A2F8-D207142622B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4CBADD73-442D-401E-8359-40CE07D446F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415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  <p:sldLayoutId id="2147483743" r:id="rId14"/>
    <p:sldLayoutId id="2147483744" r:id="rId15"/>
    <p:sldLayoutId id="2147483745" r:id="rId16"/>
    <p:sldLayoutId id="2147483746" r:id="rId17"/>
    <p:sldLayoutId id="2147483747" r:id="rId18"/>
    <p:sldLayoutId id="2147483748" r:id="rId19"/>
    <p:sldLayoutId id="2147483749" r:id="rId20"/>
    <p:sldLayoutId id="2147483750" r:id="rId21"/>
    <p:sldLayoutId id="2147483751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75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3DAB7574-1CA7-412C-A124-4B76BFEB07B1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3839C84B-5F41-4BA8-8440-CC55EBF8E41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618B3B3D-5474-4A45-AA71-C555752272F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1033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A3482E58-D445-43B5-B159-E925E2CDD614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9A2DAB50-6978-47DE-B277-993975606C66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2D8F8298-7DD4-4879-BDAE-6A6F5AF1AFAB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3239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1" r:id="rId12"/>
    <p:sldLayoutId id="2147483802" r:id="rId13"/>
    <p:sldLayoutId id="2147483803" r:id="rId14"/>
    <p:sldLayoutId id="2147483804" r:id="rId15"/>
    <p:sldLayoutId id="2147483805" r:id="rId16"/>
    <p:sldLayoutId id="2147483806" r:id="rId17"/>
    <p:sldLayoutId id="2147483807" r:id="rId18"/>
    <p:sldLayoutId id="2147483808" r:id="rId19"/>
    <p:sldLayoutId id="2147483809" r:id="rId20"/>
    <p:sldLayoutId id="2147483810" r:id="rId21"/>
    <p:sldLayoutId id="2147483811" r:id="rId22"/>
    <p:sldLayoutId id="2147483812" r:id="rId23"/>
    <p:sldLayoutId id="2147483813" r:id="rId24"/>
    <p:sldLayoutId id="2147483814" r:id="rId25"/>
    <p:sldLayoutId id="2147483815" r:id="rId26"/>
    <p:sldLayoutId id="2147483816" r:id="rId27"/>
    <p:sldLayoutId id="2147483817" r:id="rId28"/>
    <p:sldLayoutId id="214748381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DF63FB80-52B9-4B85-8954-56584780F374}" type="datetime1">
              <a:rPr lang="de-DE" smtClean="0"/>
              <a:t>2022-01-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4D88CDC6-5388-456A-9720-DC3DB88D03E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6">
            <a:extLst>
              <a:ext uri="{FF2B5EF4-FFF2-40B4-BE49-F238E27FC236}">
                <a16:creationId xmlns:a16="http://schemas.microsoft.com/office/drawing/2014/main" id="{D1454764-EFB9-4832-B2A4-C4ACCC03E15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" name="Objekt 14" hidden="1">
            <a:extLst>
              <a:ext uri="{FF2B5EF4-FFF2-40B4-BE49-F238E27FC236}">
                <a16:creationId xmlns:a16="http://schemas.microsoft.com/office/drawing/2014/main" id="{7439F3FA-9FB0-46C1-934A-7BB76942E6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794239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344" imgH="345" progId="TCLayout.ActiveDocument.1">
                  <p:embed/>
                </p:oleObj>
              </mc:Choice>
              <mc:Fallback>
                <p:oleObj name="think-cell Folie" r:id="rId33" imgW="344" imgH="345" progId="TCLayout.ActiveDocument.1">
                  <p:embed/>
                  <p:pic>
                    <p:nvPicPr>
                      <p:cNvPr id="46" name="Objekt 14" hidden="1">
                        <a:extLst>
                          <a:ext uri="{FF2B5EF4-FFF2-40B4-BE49-F238E27FC236}">
                            <a16:creationId xmlns:a16="http://schemas.microsoft.com/office/drawing/2014/main" id="{7439F3FA-9FB0-46C1-934A-7BB76942E6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hteck 13" hidden="1">
            <a:extLst>
              <a:ext uri="{FF2B5EF4-FFF2-40B4-BE49-F238E27FC236}">
                <a16:creationId xmlns:a16="http://schemas.microsoft.com/office/drawing/2014/main" id="{662020D5-745F-4095-A1D5-1C8F27F8D4AD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200" b="0" i="0" baseline="0">
              <a:latin typeface="Franklin Gothic Medium" panose="020B0603020102020204" pitchFamily="34" charset="0"/>
              <a:ea typeface="+mj-ea"/>
              <a:cs typeface="+mj-cs"/>
              <a:sym typeface="Franklin Gothic Medium" panose="020B0603020102020204" pitchFamily="34" charset="0"/>
            </a:endParaRPr>
          </a:p>
        </p:txBody>
      </p:sp>
      <p:sp>
        <p:nvSpPr>
          <p:cNvPr id="50" name="Titel 1">
            <a:extLst>
              <a:ext uri="{FF2B5EF4-FFF2-40B4-BE49-F238E27FC236}">
                <a16:creationId xmlns:a16="http://schemas.microsoft.com/office/drawing/2014/main" id="{F6EAAF46-38F8-48A1-96C3-B4D4ED8AE0C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71364" y="6495967"/>
            <a:ext cx="810603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900">
                <a:solidFill>
                  <a:schemeClr val="tx2"/>
                </a:solidFill>
                <a:latin typeface="+mn-lt"/>
              </a:rPr>
              <a:t>LichtBlick SE</a:t>
            </a:r>
          </a:p>
        </p:txBody>
      </p:sp>
      <p:sp>
        <p:nvSpPr>
          <p:cNvPr id="51" name="Rechteck 9">
            <a:extLst>
              <a:ext uri="{FF2B5EF4-FFF2-40B4-BE49-F238E27FC236}">
                <a16:creationId xmlns:a16="http://schemas.microsoft.com/office/drawing/2014/main" id="{50371395-8C6A-4EAD-AAE0-9245401D8E7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  <a:ln w="6350">
            <a:solidFill>
              <a:srgbClr val="DCDCD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 w="6350">
                <a:solidFill>
                  <a:schemeClr val="tx1"/>
                </a:solidFill>
              </a:ln>
            </a:endParaRPr>
          </a:p>
        </p:txBody>
      </p:sp>
      <p:sp>
        <p:nvSpPr>
          <p:cNvPr id="52" name="Freihandform 18">
            <a:extLst>
              <a:ext uri="{FF2B5EF4-FFF2-40B4-BE49-F238E27FC236}">
                <a16:creationId xmlns:a16="http://schemas.microsoft.com/office/drawing/2014/main" id="{F66A3062-3E07-4305-AEBE-F00DAE4E1CB8}"/>
              </a:ext>
            </a:extLst>
          </p:cNvPr>
          <p:cNvSpPr/>
          <p:nvPr userDrawn="1"/>
        </p:nvSpPr>
        <p:spPr bwMode="gray">
          <a:xfrm>
            <a:off x="11105877" y="6106855"/>
            <a:ext cx="1086123" cy="751144"/>
          </a:xfrm>
          <a:custGeom>
            <a:avLst/>
            <a:gdLst>
              <a:gd name="connsiteX0" fmla="*/ 1035701 w 1086123"/>
              <a:gd name="connsiteY0" fmla="*/ 673542 h 751144"/>
              <a:gd name="connsiteX1" fmla="*/ 1018841 w 1086123"/>
              <a:gd name="connsiteY1" fmla="*/ 751144 h 751144"/>
              <a:gd name="connsiteX2" fmla="*/ 751514 w 1086123"/>
              <a:gd name="connsiteY2" fmla="*/ 751144 h 751144"/>
              <a:gd name="connsiteX3" fmla="*/ 748933 w 1086123"/>
              <a:gd name="connsiteY3" fmla="*/ 748693 h 751144"/>
              <a:gd name="connsiteX4" fmla="*/ 1035701 w 1086123"/>
              <a:gd name="connsiteY4" fmla="*/ 673542 h 751144"/>
              <a:gd name="connsiteX5" fmla="*/ 288455 w 1086123"/>
              <a:gd name="connsiteY5" fmla="*/ 613231 h 751144"/>
              <a:gd name="connsiteX6" fmla="*/ 658816 w 1086123"/>
              <a:gd name="connsiteY6" fmla="*/ 747835 h 751144"/>
              <a:gd name="connsiteX7" fmla="*/ 661557 w 1086123"/>
              <a:gd name="connsiteY7" fmla="*/ 751144 h 751144"/>
              <a:gd name="connsiteX8" fmla="*/ 240675 w 1086123"/>
              <a:gd name="connsiteY8" fmla="*/ 751144 h 751144"/>
              <a:gd name="connsiteX9" fmla="*/ 240840 w 1086123"/>
              <a:gd name="connsiteY9" fmla="*/ 749671 h 751144"/>
              <a:gd name="connsiteX10" fmla="*/ 288455 w 1086123"/>
              <a:gd name="connsiteY10" fmla="*/ 613231 h 751144"/>
              <a:gd name="connsiteX11" fmla="*/ 73748 w 1086123"/>
              <a:gd name="connsiteY11" fmla="*/ 369743 h 751144"/>
              <a:gd name="connsiteX12" fmla="*/ 94418 w 1086123"/>
              <a:gd name="connsiteY12" fmla="*/ 406451 h 751144"/>
              <a:gd name="connsiteX13" fmla="*/ 232441 w 1086123"/>
              <a:gd name="connsiteY13" fmla="*/ 568346 h 751144"/>
              <a:gd name="connsiteX14" fmla="*/ 174808 w 1086123"/>
              <a:gd name="connsiteY14" fmla="*/ 725715 h 751144"/>
              <a:gd name="connsiteX15" fmla="*/ 171777 w 1086123"/>
              <a:gd name="connsiteY15" fmla="*/ 751144 h 751144"/>
              <a:gd name="connsiteX16" fmla="*/ 7450 w 1086123"/>
              <a:gd name="connsiteY16" fmla="*/ 751144 h 751144"/>
              <a:gd name="connsiteX17" fmla="*/ 0 w 1086123"/>
              <a:gd name="connsiteY17" fmla="*/ 677044 h 751144"/>
              <a:gd name="connsiteX18" fmla="*/ 53305 w 1086123"/>
              <a:gd name="connsiteY18" fmla="*/ 412297 h 751144"/>
              <a:gd name="connsiteX19" fmla="*/ 519837 w 1086123"/>
              <a:gd name="connsiteY19" fmla="*/ 345915 h 751144"/>
              <a:gd name="connsiteX20" fmla="*/ 610788 w 1086123"/>
              <a:gd name="connsiteY20" fmla="*/ 671985 h 751144"/>
              <a:gd name="connsiteX21" fmla="*/ 321692 w 1086123"/>
              <a:gd name="connsiteY21" fmla="*/ 551339 h 751144"/>
              <a:gd name="connsiteX22" fmla="*/ 519837 w 1086123"/>
              <a:gd name="connsiteY22" fmla="*/ 345915 h 751144"/>
              <a:gd name="connsiteX23" fmla="*/ 1026776 w 1086123"/>
              <a:gd name="connsiteY23" fmla="*/ 252141 h 751144"/>
              <a:gd name="connsiteX24" fmla="*/ 1086123 w 1086123"/>
              <a:gd name="connsiteY24" fmla="*/ 272008 h 751144"/>
              <a:gd name="connsiteX25" fmla="*/ 1086123 w 1086123"/>
              <a:gd name="connsiteY25" fmla="*/ 412436 h 751144"/>
              <a:gd name="connsiteX26" fmla="*/ 1082754 w 1086123"/>
              <a:gd name="connsiteY26" fmla="*/ 392721 h 751144"/>
              <a:gd name="connsiteX27" fmla="*/ 1026776 w 1086123"/>
              <a:gd name="connsiteY27" fmla="*/ 252141 h 751144"/>
              <a:gd name="connsiteX28" fmla="*/ 811915 w 1086123"/>
              <a:gd name="connsiteY28" fmla="*/ 242518 h 751144"/>
              <a:gd name="connsiteX29" fmla="*/ 1008876 w 1086123"/>
              <a:gd name="connsiteY29" fmla="*/ 393047 h 751144"/>
              <a:gd name="connsiteX30" fmla="*/ 878877 w 1086123"/>
              <a:gd name="connsiteY30" fmla="*/ 657577 h 751144"/>
              <a:gd name="connsiteX31" fmla="*/ 620502 w 1086123"/>
              <a:gd name="connsiteY31" fmla="*/ 516331 h 751144"/>
              <a:gd name="connsiteX32" fmla="*/ 751314 w 1086123"/>
              <a:gd name="connsiteY32" fmla="*/ 251801 h 751144"/>
              <a:gd name="connsiteX33" fmla="*/ 811915 w 1086123"/>
              <a:gd name="connsiteY33" fmla="*/ 242518 h 751144"/>
              <a:gd name="connsiteX34" fmla="*/ 824105 w 1086123"/>
              <a:gd name="connsiteY34" fmla="*/ 13050 h 751144"/>
              <a:gd name="connsiteX35" fmla="*/ 880017 w 1086123"/>
              <a:gd name="connsiteY35" fmla="*/ 27466 h 751144"/>
              <a:gd name="connsiteX36" fmla="*/ 1030036 w 1086123"/>
              <a:gd name="connsiteY36" fmla="*/ 95356 h 751144"/>
              <a:gd name="connsiteX37" fmla="*/ 1086123 w 1086123"/>
              <a:gd name="connsiteY37" fmla="*/ 134335 h 751144"/>
              <a:gd name="connsiteX38" fmla="*/ 1086123 w 1086123"/>
              <a:gd name="connsiteY38" fmla="*/ 195151 h 751144"/>
              <a:gd name="connsiteX39" fmla="*/ 1084145 w 1086123"/>
              <a:gd name="connsiteY39" fmla="*/ 194423 h 751144"/>
              <a:gd name="connsiteX40" fmla="*/ 977328 w 1086123"/>
              <a:gd name="connsiteY40" fmla="*/ 172031 h 751144"/>
              <a:gd name="connsiteX41" fmla="*/ 832504 w 1086123"/>
              <a:gd name="connsiteY41" fmla="*/ 19068 h 751144"/>
              <a:gd name="connsiteX42" fmla="*/ 590403 w 1086123"/>
              <a:gd name="connsiteY42" fmla="*/ 3238 h 751144"/>
              <a:gd name="connsiteX43" fmla="*/ 572100 w 1086123"/>
              <a:gd name="connsiteY43" fmla="*/ 42273 h 751144"/>
              <a:gd name="connsiteX44" fmla="*/ 521397 w 1086123"/>
              <a:gd name="connsiteY44" fmla="*/ 262672 h 751144"/>
              <a:gd name="connsiteX45" fmla="*/ 267221 w 1086123"/>
              <a:gd name="connsiteY45" fmla="*/ 506616 h 751144"/>
              <a:gd name="connsiteX46" fmla="*/ 135325 w 1086123"/>
              <a:gd name="connsiteY46" fmla="*/ 337846 h 751144"/>
              <a:gd name="connsiteX47" fmla="*/ 115730 w 1086123"/>
              <a:gd name="connsiteY47" fmla="*/ 296951 h 751144"/>
              <a:gd name="connsiteX48" fmla="*/ 115845 w 1086123"/>
              <a:gd name="connsiteY48" fmla="*/ 296762 h 751144"/>
              <a:gd name="connsiteX49" fmla="*/ 541606 w 1086123"/>
              <a:gd name="connsiteY49" fmla="*/ 10706 h 751144"/>
              <a:gd name="connsiteX50" fmla="*/ 670086 w 1086123"/>
              <a:gd name="connsiteY50" fmla="*/ 0 h 751144"/>
              <a:gd name="connsiteX51" fmla="*/ 883974 w 1086123"/>
              <a:gd name="connsiteY51" fmla="*/ 166233 h 751144"/>
              <a:gd name="connsiteX52" fmla="*/ 883161 w 1086123"/>
              <a:gd name="connsiteY52" fmla="*/ 166233 h 751144"/>
              <a:gd name="connsiteX53" fmla="*/ 595266 w 1086123"/>
              <a:gd name="connsiteY53" fmla="*/ 224903 h 751144"/>
              <a:gd name="connsiteX54" fmla="*/ 670086 w 1086123"/>
              <a:gd name="connsiteY54" fmla="*/ 0 h 751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1086123" h="751144">
                <a:moveTo>
                  <a:pt x="1035701" y="673542"/>
                </a:moveTo>
                <a:lnTo>
                  <a:pt x="1018841" y="751144"/>
                </a:lnTo>
                <a:lnTo>
                  <a:pt x="751514" y="751144"/>
                </a:lnTo>
                <a:lnTo>
                  <a:pt x="748933" y="748693"/>
                </a:lnTo>
                <a:cubicBezTo>
                  <a:pt x="852105" y="743791"/>
                  <a:pt x="948777" y="716835"/>
                  <a:pt x="1035701" y="673542"/>
                </a:cubicBezTo>
                <a:close/>
                <a:moveTo>
                  <a:pt x="288455" y="613231"/>
                </a:moveTo>
                <a:cubicBezTo>
                  <a:pt x="394040" y="689099"/>
                  <a:pt x="521555" y="738046"/>
                  <a:pt x="658816" y="747835"/>
                </a:cubicBezTo>
                <a:lnTo>
                  <a:pt x="661557" y="751144"/>
                </a:lnTo>
                <a:lnTo>
                  <a:pt x="240675" y="751144"/>
                </a:lnTo>
                <a:lnTo>
                  <a:pt x="240840" y="749671"/>
                </a:lnTo>
                <a:cubicBezTo>
                  <a:pt x="251703" y="702152"/>
                  <a:pt x="267744" y="656468"/>
                  <a:pt x="288455" y="613231"/>
                </a:cubicBezTo>
                <a:close/>
                <a:moveTo>
                  <a:pt x="73748" y="369743"/>
                </a:moveTo>
                <a:lnTo>
                  <a:pt x="94418" y="406451"/>
                </a:lnTo>
                <a:cubicBezTo>
                  <a:pt x="132421" y="467071"/>
                  <a:pt x="178772" y="521839"/>
                  <a:pt x="232441" y="568346"/>
                </a:cubicBezTo>
                <a:cubicBezTo>
                  <a:pt x="207639" y="618117"/>
                  <a:pt x="188123" y="670743"/>
                  <a:pt x="174808" y="725715"/>
                </a:cubicBezTo>
                <a:lnTo>
                  <a:pt x="171777" y="751144"/>
                </a:lnTo>
                <a:lnTo>
                  <a:pt x="7450" y="751144"/>
                </a:lnTo>
                <a:lnTo>
                  <a:pt x="0" y="677044"/>
                </a:lnTo>
                <a:cubicBezTo>
                  <a:pt x="0" y="583134"/>
                  <a:pt x="18981" y="493669"/>
                  <a:pt x="53305" y="412297"/>
                </a:cubicBezTo>
                <a:close/>
                <a:moveTo>
                  <a:pt x="519837" y="345915"/>
                </a:moveTo>
                <a:cubicBezTo>
                  <a:pt x="523897" y="464116"/>
                  <a:pt x="556380" y="574164"/>
                  <a:pt x="610788" y="671985"/>
                </a:cubicBezTo>
                <a:cubicBezTo>
                  <a:pt x="503595" y="654867"/>
                  <a:pt x="405335" y="612478"/>
                  <a:pt x="321692" y="551339"/>
                </a:cubicBezTo>
                <a:cubicBezTo>
                  <a:pt x="372040" y="469007"/>
                  <a:pt x="439442" y="398901"/>
                  <a:pt x="519837" y="345915"/>
                </a:cubicBezTo>
                <a:close/>
                <a:moveTo>
                  <a:pt x="1026776" y="252141"/>
                </a:moveTo>
                <a:lnTo>
                  <a:pt x="1086123" y="272008"/>
                </a:lnTo>
                <a:lnTo>
                  <a:pt x="1086123" y="412436"/>
                </a:lnTo>
                <a:lnTo>
                  <a:pt x="1082754" y="392721"/>
                </a:lnTo>
                <a:cubicBezTo>
                  <a:pt x="1068836" y="343620"/>
                  <a:pt x="1049940" y="296556"/>
                  <a:pt x="1026776" y="252141"/>
                </a:cubicBezTo>
                <a:close/>
                <a:moveTo>
                  <a:pt x="811915" y="242518"/>
                </a:moveTo>
                <a:cubicBezTo>
                  <a:pt x="899002" y="243085"/>
                  <a:pt x="980490" y="302166"/>
                  <a:pt x="1008876" y="393047"/>
                </a:cubicBezTo>
                <a:cubicBezTo>
                  <a:pt x="1044626" y="504901"/>
                  <a:pt x="986126" y="623286"/>
                  <a:pt x="878877" y="657577"/>
                </a:cubicBezTo>
                <a:cubicBezTo>
                  <a:pt x="771627" y="691052"/>
                  <a:pt x="655440" y="628185"/>
                  <a:pt x="620502" y="516331"/>
                </a:cubicBezTo>
                <a:cubicBezTo>
                  <a:pt x="585565" y="403661"/>
                  <a:pt x="644065" y="285276"/>
                  <a:pt x="751314" y="251801"/>
                </a:cubicBezTo>
                <a:cubicBezTo>
                  <a:pt x="771424" y="245372"/>
                  <a:pt x="791819" y="242387"/>
                  <a:pt x="811915" y="242518"/>
                </a:cubicBezTo>
                <a:close/>
                <a:moveTo>
                  <a:pt x="824105" y="13050"/>
                </a:moveTo>
                <a:lnTo>
                  <a:pt x="880017" y="27466"/>
                </a:lnTo>
                <a:cubicBezTo>
                  <a:pt x="933117" y="44027"/>
                  <a:pt x="983419" y="66954"/>
                  <a:pt x="1030036" y="95356"/>
                </a:cubicBezTo>
                <a:lnTo>
                  <a:pt x="1086123" y="134335"/>
                </a:lnTo>
                <a:lnTo>
                  <a:pt x="1086123" y="195151"/>
                </a:lnTo>
                <a:lnTo>
                  <a:pt x="1084145" y="194423"/>
                </a:lnTo>
                <a:cubicBezTo>
                  <a:pt x="1049568" y="184463"/>
                  <a:pt x="1013906" y="176928"/>
                  <a:pt x="977328" y="172031"/>
                </a:cubicBezTo>
                <a:cubicBezTo>
                  <a:pt x="936483" y="114503"/>
                  <a:pt x="887865" y="62941"/>
                  <a:pt x="832504" y="19068"/>
                </a:cubicBezTo>
                <a:close/>
                <a:moveTo>
                  <a:pt x="590403" y="3238"/>
                </a:moveTo>
                <a:lnTo>
                  <a:pt x="572100" y="42273"/>
                </a:lnTo>
                <a:cubicBezTo>
                  <a:pt x="544236" y="110920"/>
                  <a:pt x="526878" y="184960"/>
                  <a:pt x="521397" y="262672"/>
                </a:cubicBezTo>
                <a:cubicBezTo>
                  <a:pt x="418265" y="322230"/>
                  <a:pt x="330562" y="406264"/>
                  <a:pt x="267221" y="506616"/>
                </a:cubicBezTo>
                <a:cubicBezTo>
                  <a:pt x="214234" y="458276"/>
                  <a:pt x="169926" y="401216"/>
                  <a:pt x="135325" y="337846"/>
                </a:cubicBezTo>
                <a:lnTo>
                  <a:pt x="115730" y="296951"/>
                </a:lnTo>
                <a:lnTo>
                  <a:pt x="115845" y="296762"/>
                </a:lnTo>
                <a:cubicBezTo>
                  <a:pt x="213362" y="152024"/>
                  <a:pt x="364981" y="46947"/>
                  <a:pt x="541606" y="10706"/>
                </a:cubicBezTo>
                <a:close/>
                <a:moveTo>
                  <a:pt x="670086" y="0"/>
                </a:moveTo>
                <a:cubicBezTo>
                  <a:pt x="752226" y="39929"/>
                  <a:pt x="825419" y="96155"/>
                  <a:pt x="883974" y="166233"/>
                </a:cubicBezTo>
                <a:cubicBezTo>
                  <a:pt x="883974" y="166233"/>
                  <a:pt x="883161" y="166233"/>
                  <a:pt x="883161" y="166233"/>
                </a:cubicBezTo>
                <a:cubicBezTo>
                  <a:pt x="780690" y="166233"/>
                  <a:pt x="683099" y="186605"/>
                  <a:pt x="595266" y="224903"/>
                </a:cubicBezTo>
                <a:cubicBezTo>
                  <a:pt x="606652" y="144232"/>
                  <a:pt x="631863" y="68449"/>
                  <a:pt x="670086" y="0"/>
                </a:cubicBezTo>
                <a:close/>
              </a:path>
            </a:pathLst>
          </a:cu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27927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  <p:sldLayoutId id="2147483835" r:id="rId16"/>
    <p:sldLayoutId id="2147483836" r:id="rId17"/>
    <p:sldLayoutId id="2147483837" r:id="rId18"/>
    <p:sldLayoutId id="2147483838" r:id="rId19"/>
    <p:sldLayoutId id="2147483839" r:id="rId20"/>
    <p:sldLayoutId id="2147483840" r:id="rId21"/>
    <p:sldLayoutId id="2147483841" r:id="rId22"/>
    <p:sldLayoutId id="2147483842" r:id="rId23"/>
    <p:sldLayoutId id="2147483843" r:id="rId24"/>
    <p:sldLayoutId id="2147483844" r:id="rId25"/>
    <p:sldLayoutId id="2147483845" r:id="rId26"/>
    <p:sldLayoutId id="2147483846" r:id="rId27"/>
    <p:sldLayoutId id="2147483847" r:id="rId28"/>
    <p:sldLayoutId id="214748384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  <p15:guide id="32" pos="234" userDrawn="1">
          <p15:clr>
            <a:srgbClr val="F26B43"/>
          </p15:clr>
        </p15:guide>
        <p15:guide id="33" pos="7446" userDrawn="1">
          <p15:clr>
            <a:srgbClr val="F26B43"/>
          </p15:clr>
        </p15:guide>
        <p15:guide id="34" orient="horz" pos="935" userDrawn="1">
          <p15:clr>
            <a:srgbClr val="F26B43"/>
          </p15:clr>
        </p15:guide>
        <p15:guide id="35" orient="horz" pos="3997" userDrawn="1">
          <p15:clr>
            <a:srgbClr val="F26B43"/>
          </p15:clr>
        </p15:guide>
        <p15:guide id="36" pos="3976" userDrawn="1">
          <p15:clr>
            <a:srgbClr val="F26B43"/>
          </p15:clr>
        </p15:guide>
        <p15:guide id="37" pos="3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6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206123-2671-4C75-B96B-BFF2A9F8B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9226A32-DCB5-4D00-AFAB-7E8E22B2A628}" type="datetime1">
              <a:rPr lang="de-DE" smtClean="0"/>
              <a:t>2022-01-12</a:t>
            </a:fld>
            <a:endParaRPr lang="de-DE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78BEEDC9-25DD-4269-A14F-186C684D63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DD9419C6-E375-4F8F-A9D2-5BDB4C9A8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EB2C8E0-C48E-41BA-B15A-7B21F2FFB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 Focus: </a:t>
            </a:r>
            <a:br>
              <a:rPr lang="en-GB" dirty="0"/>
            </a:br>
            <a:r>
              <a:rPr lang="en-GB" dirty="0"/>
              <a:t>Weather effects Dec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AEDF66BC-5AD4-4E2A-827C-646F8D625EC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P2H</a:t>
            </a:r>
          </a:p>
        </p:txBody>
      </p:sp>
    </p:spTree>
    <p:extLst>
      <p:ext uri="{BB962C8B-B14F-4D97-AF65-F5344CB8AC3E}">
        <p14:creationId xmlns:p14="http://schemas.microsoft.com/office/powerpoint/2010/main" val="2796724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13F8F9A-CAC6-4C84-865B-80CE7419D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Temperature</a:t>
            </a:r>
            <a:r>
              <a:rPr lang="de-DE"/>
              <a:t> </a:t>
            </a:r>
            <a:r>
              <a:rPr lang="de-DE" err="1"/>
              <a:t>below</a:t>
            </a:r>
            <a:r>
              <a:rPr lang="de-DE"/>
              <a:t> </a:t>
            </a:r>
            <a:r>
              <a:rPr lang="de-DE" err="1"/>
              <a:t>hedged</a:t>
            </a:r>
            <a:r>
              <a:rPr lang="de-DE"/>
              <a:t> </a:t>
            </a:r>
            <a:r>
              <a:rPr lang="de-DE" err="1"/>
              <a:t>Normjahr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4EAED5-ED54-412E-BDB6-74BB792C722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35DC76-B92A-41A0-BBC4-8A83FC6731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48534A9D-CD2A-438E-84A4-05F8C43E93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8138" y="690712"/>
            <a:ext cx="9424698" cy="253806"/>
          </a:xfrm>
        </p:spPr>
        <p:txBody>
          <a:bodyPr/>
          <a:lstStyle/>
          <a:p>
            <a:r>
              <a:rPr lang="de-DE" b="1">
                <a:solidFill>
                  <a:schemeClr val="accent1"/>
                </a:solidFill>
              </a:rPr>
              <a:t>Sourcing Prices November and </a:t>
            </a:r>
            <a:r>
              <a:rPr lang="de-DE" b="1" err="1">
                <a:solidFill>
                  <a:schemeClr val="accent1"/>
                </a:solidFill>
              </a:rPr>
              <a:t>December</a:t>
            </a:r>
            <a:r>
              <a:rPr lang="de-DE" b="1">
                <a:solidFill>
                  <a:schemeClr val="accent1"/>
                </a:solidFill>
              </a:rPr>
              <a:t> </a:t>
            </a:r>
            <a:r>
              <a:rPr lang="de-DE" b="1" err="1">
                <a:solidFill>
                  <a:schemeClr val="accent1"/>
                </a:solidFill>
              </a:rPr>
              <a:t>are</a:t>
            </a:r>
            <a:r>
              <a:rPr lang="de-DE" b="1">
                <a:solidFill>
                  <a:schemeClr val="accent1"/>
                </a:solidFill>
              </a:rPr>
              <a:t> off </a:t>
            </a:r>
            <a:r>
              <a:rPr lang="de-DE" b="1" err="1">
                <a:solidFill>
                  <a:schemeClr val="accent1"/>
                </a:solidFill>
              </a:rPr>
              <a:t>budget</a:t>
            </a:r>
            <a:r>
              <a:rPr lang="de-DE" b="1">
                <a:solidFill>
                  <a:schemeClr val="accent1"/>
                </a:solidFill>
              </a:rPr>
              <a:t> due </a:t>
            </a:r>
            <a:r>
              <a:rPr lang="de-DE" b="1" err="1">
                <a:solidFill>
                  <a:schemeClr val="accent1"/>
                </a:solidFill>
              </a:rPr>
              <a:t>to</a:t>
            </a:r>
            <a:r>
              <a:rPr lang="de-DE" b="1">
                <a:solidFill>
                  <a:schemeClr val="accent1"/>
                </a:solidFill>
              </a:rPr>
              <a:t> additional </a:t>
            </a:r>
            <a:r>
              <a:rPr lang="de-DE" b="1" err="1">
                <a:solidFill>
                  <a:schemeClr val="accent1"/>
                </a:solidFill>
              </a:rPr>
              <a:t>sourcing</a:t>
            </a:r>
            <a:r>
              <a:rPr lang="de-DE" b="1">
                <a:solidFill>
                  <a:schemeClr val="accent1"/>
                </a:solidFill>
              </a:rPr>
              <a:t> in high </a:t>
            </a:r>
            <a:r>
              <a:rPr lang="de-DE" b="1" err="1">
                <a:solidFill>
                  <a:schemeClr val="accent1"/>
                </a:solidFill>
              </a:rPr>
              <a:t>price</a:t>
            </a:r>
            <a:r>
              <a:rPr lang="de-DE" b="1">
                <a:solidFill>
                  <a:schemeClr val="accent1"/>
                </a:solidFill>
              </a:rPr>
              <a:t> </a:t>
            </a:r>
            <a:r>
              <a:rPr lang="de-DE" b="1" err="1">
                <a:solidFill>
                  <a:schemeClr val="accent1"/>
                </a:solidFill>
              </a:rPr>
              <a:t>market</a:t>
            </a:r>
            <a:r>
              <a:rPr lang="de-DE" b="1">
                <a:solidFill>
                  <a:schemeClr val="accent1"/>
                </a:solidFill>
              </a:rPr>
              <a:t> </a:t>
            </a:r>
            <a:r>
              <a:rPr lang="de-DE" b="1" err="1">
                <a:solidFill>
                  <a:schemeClr val="accent1"/>
                </a:solidFill>
              </a:rPr>
              <a:t>situation</a:t>
            </a:r>
            <a:endParaRPr lang="en-US" b="1">
              <a:solidFill>
                <a:schemeClr val="accent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52BA679-15C5-4D62-AE13-FA792CC308D3}"/>
              </a:ext>
            </a:extLst>
          </p:cNvPr>
          <p:cNvSpPr txBox="1"/>
          <p:nvPr/>
        </p:nvSpPr>
        <p:spPr>
          <a:xfrm>
            <a:off x="338138" y="1098209"/>
            <a:ext cx="10355529" cy="88626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600" dirty="0"/>
              <a:t>Temperatures in November were 0.5°C below hedged average. This caused additional sourcing at extremely high spot market prices (Power: 178 €/MWh (base); Gas: 81.65 €/MWh) whereas customers pay fixed prices at hedge price level (P2H: 45€/MWh; Gas: 22€/MWh)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22AE477-7857-4203-8475-DCFE867AD2B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FE5314BA-6103-45A1-8208-2DAEE702F7E4}" type="datetime1">
              <a:rPr lang="de-DE" smtClean="0"/>
              <a:t>2022-01-12</a:t>
            </a:fld>
            <a:endParaRPr lang="de-DE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9A0809EC-B698-4655-B475-80F3E6B864A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08847595"/>
              </p:ext>
            </p:extLst>
          </p:nvPr>
        </p:nvGraphicFramePr>
        <p:xfrm>
          <a:off x="427838" y="2134454"/>
          <a:ext cx="6367244" cy="45561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024248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13F8F9A-CAC6-4C84-865B-80CE7419D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2H </a:t>
            </a:r>
            <a:r>
              <a:rPr lang="de-DE" dirty="0" err="1"/>
              <a:t>portfolio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cember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4EAED5-ED54-412E-BDB6-74BB792C722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35DC76-B92A-41A0-BBC4-8A83FC6731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48534A9D-CD2A-438E-84A4-05F8C43E93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8138" y="690712"/>
            <a:ext cx="9424698" cy="253806"/>
          </a:xfrm>
        </p:spPr>
        <p:txBody>
          <a:bodyPr/>
          <a:lstStyle/>
          <a:p>
            <a:r>
              <a:rPr lang="en-US" b="1" dirty="0">
                <a:solidFill>
                  <a:schemeClr val="accent1"/>
                </a:solidFill>
              </a:rPr>
              <a:t>High prices and cold temperatures exceeded budgeted prices and volum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52BA679-15C5-4D62-AE13-FA792CC308D3}"/>
              </a:ext>
            </a:extLst>
          </p:cNvPr>
          <p:cNvSpPr txBox="1"/>
          <p:nvPr/>
        </p:nvSpPr>
        <p:spPr>
          <a:xfrm>
            <a:off x="5113867" y="1098209"/>
            <a:ext cx="5452533" cy="467499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600" dirty="0"/>
              <a:t>Top: Mid-Month has milder temperatures, leading to (small) expected spot sales in the coming days.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endParaRPr lang="en-GB" sz="1600" dirty="0"/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600" dirty="0"/>
              <a:t>Bottom: The realised procurement price is above the plan price for almost the entire month.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endParaRPr lang="en-GB" sz="1600" dirty="0"/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600" dirty="0"/>
              <a:t>Due to a further rise in prices, the expected result for December has worsened, from -4.1 </a:t>
            </a:r>
            <a:r>
              <a:rPr lang="en-GB" sz="1600" dirty="0" err="1"/>
              <a:t>MEur</a:t>
            </a:r>
            <a:r>
              <a:rPr lang="en-GB" sz="1600" dirty="0"/>
              <a:t> on Dec. 1, to -6.7 </a:t>
            </a:r>
            <a:r>
              <a:rPr lang="en-GB" sz="1600" dirty="0" err="1"/>
              <a:t>MEur</a:t>
            </a:r>
            <a:r>
              <a:rPr lang="en-GB" sz="1600" dirty="0"/>
              <a:t> today.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endParaRPr lang="en-GB" sz="1600" dirty="0"/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600" dirty="0"/>
              <a:t>The final result for the month might be a bit less drastic, as our norm temperature profile happens to have a large offtake at the end of the year, which might not materialise.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endParaRPr lang="en-GB" sz="160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22AE477-7857-4203-8475-DCFE867AD2B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FE5314BA-6103-45A1-8208-2DAEE702F7E4}" type="datetime1">
              <a:rPr lang="de-DE" smtClean="0"/>
              <a:t>2022-01-12</a:t>
            </a:fld>
            <a:endParaRPr lang="de-DE"/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B18E264E-AC7E-41B0-B09E-E385B316BE1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7187523"/>
              </p:ext>
            </p:extLst>
          </p:nvPr>
        </p:nvGraphicFramePr>
        <p:xfrm>
          <a:off x="177799" y="1151243"/>
          <a:ext cx="4767263" cy="2828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B64A2DE0-8A92-41BE-8246-FBF2FEE6242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71075188"/>
              </p:ext>
            </p:extLst>
          </p:nvPr>
        </p:nvGraphicFramePr>
        <p:xfrm>
          <a:off x="274638" y="41148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940290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A89C9C52-A47D-4A65-BCD9-286492712C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ducing volume mismatch: chronology of temperature strategy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943FA4B-8C23-418E-8E11-3BC4CBCC27A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1F0E126-C889-4F3A-8749-1208B9D602D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13752740-CE93-40F2-A517-E4CFD747306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b="1">
                <a:solidFill>
                  <a:schemeClr val="accent1"/>
                </a:solidFill>
              </a:rPr>
              <a:t>In Focus: Gas B2B Profit-at-Risk</a:t>
            </a:r>
            <a:endParaRPr lang="en-US" b="1">
              <a:solidFill>
                <a:schemeClr val="accent1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85E884E1-0DEA-4D97-AA2D-F405439D6B79}"/>
              </a:ext>
            </a:extLst>
          </p:cNvPr>
          <p:cNvGrpSpPr/>
          <p:nvPr/>
        </p:nvGrpSpPr>
        <p:grpSpPr>
          <a:xfrm>
            <a:off x="332765" y="1217165"/>
            <a:ext cx="10510292" cy="2618173"/>
            <a:chOff x="331304" y="1688801"/>
            <a:chExt cx="10510292" cy="3104093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EAF842D9-F0B8-4BB1-A753-0A9E139FF8B5}"/>
                </a:ext>
              </a:extLst>
            </p:cNvPr>
            <p:cNvSpPr/>
            <p:nvPr/>
          </p:nvSpPr>
          <p:spPr>
            <a:xfrm>
              <a:off x="331304" y="1688841"/>
              <a:ext cx="1835281" cy="1301886"/>
            </a:xfrm>
            <a:custGeom>
              <a:avLst/>
              <a:gdLst>
                <a:gd name="connsiteX0" fmla="*/ 0 w 1835281"/>
                <a:gd name="connsiteY0" fmla="*/ 104004 h 1040041"/>
                <a:gd name="connsiteX1" fmla="*/ 104004 w 1835281"/>
                <a:gd name="connsiteY1" fmla="*/ 0 h 1040041"/>
                <a:gd name="connsiteX2" fmla="*/ 1731277 w 1835281"/>
                <a:gd name="connsiteY2" fmla="*/ 0 h 1040041"/>
                <a:gd name="connsiteX3" fmla="*/ 1835281 w 1835281"/>
                <a:gd name="connsiteY3" fmla="*/ 104004 h 1040041"/>
                <a:gd name="connsiteX4" fmla="*/ 1835281 w 1835281"/>
                <a:gd name="connsiteY4" fmla="*/ 936037 h 1040041"/>
                <a:gd name="connsiteX5" fmla="*/ 1731277 w 1835281"/>
                <a:gd name="connsiteY5" fmla="*/ 1040041 h 1040041"/>
                <a:gd name="connsiteX6" fmla="*/ 104004 w 1835281"/>
                <a:gd name="connsiteY6" fmla="*/ 1040041 h 1040041"/>
                <a:gd name="connsiteX7" fmla="*/ 0 w 1835281"/>
                <a:gd name="connsiteY7" fmla="*/ 936037 h 1040041"/>
                <a:gd name="connsiteX8" fmla="*/ 0 w 1835281"/>
                <a:gd name="connsiteY8" fmla="*/ 104004 h 1040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281" h="1040041">
                  <a:moveTo>
                    <a:pt x="0" y="104004"/>
                  </a:moveTo>
                  <a:cubicBezTo>
                    <a:pt x="0" y="46564"/>
                    <a:pt x="46564" y="0"/>
                    <a:pt x="104004" y="0"/>
                  </a:cubicBezTo>
                  <a:lnTo>
                    <a:pt x="1731277" y="0"/>
                  </a:lnTo>
                  <a:cubicBezTo>
                    <a:pt x="1788717" y="0"/>
                    <a:pt x="1835281" y="46564"/>
                    <a:pt x="1835281" y="104004"/>
                  </a:cubicBezTo>
                  <a:lnTo>
                    <a:pt x="1835281" y="936037"/>
                  </a:lnTo>
                  <a:cubicBezTo>
                    <a:pt x="1835281" y="993477"/>
                    <a:pt x="1788717" y="1040041"/>
                    <a:pt x="1731277" y="1040041"/>
                  </a:cubicBezTo>
                  <a:lnTo>
                    <a:pt x="104004" y="1040041"/>
                  </a:lnTo>
                  <a:cubicBezTo>
                    <a:pt x="46564" y="1040041"/>
                    <a:pt x="0" y="993477"/>
                    <a:pt x="0" y="936037"/>
                  </a:cubicBezTo>
                  <a:lnTo>
                    <a:pt x="0" y="104004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78232" rIns="78232" bIns="388590" numCol="1" spcCol="1270" anchor="t" anchorCtr="0">
              <a:no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1300" kern="1200"/>
                <a:t>bis Belieferung Winter 19/20</a:t>
              </a:r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9621ADE-5143-479A-AF59-46F23E51414F}"/>
                </a:ext>
              </a:extLst>
            </p:cNvPr>
            <p:cNvSpPr/>
            <p:nvPr/>
          </p:nvSpPr>
          <p:spPr>
            <a:xfrm>
              <a:off x="747549" y="2456686"/>
              <a:ext cx="1835281" cy="1212550"/>
            </a:xfrm>
            <a:custGeom>
              <a:avLst/>
              <a:gdLst>
                <a:gd name="connsiteX0" fmla="*/ 0 w 1835281"/>
                <a:gd name="connsiteY0" fmla="*/ 183528 h 1862437"/>
                <a:gd name="connsiteX1" fmla="*/ 183528 w 1835281"/>
                <a:gd name="connsiteY1" fmla="*/ 0 h 1862437"/>
                <a:gd name="connsiteX2" fmla="*/ 1651753 w 1835281"/>
                <a:gd name="connsiteY2" fmla="*/ 0 h 1862437"/>
                <a:gd name="connsiteX3" fmla="*/ 1835281 w 1835281"/>
                <a:gd name="connsiteY3" fmla="*/ 183528 h 1862437"/>
                <a:gd name="connsiteX4" fmla="*/ 1835281 w 1835281"/>
                <a:gd name="connsiteY4" fmla="*/ 1678909 h 1862437"/>
                <a:gd name="connsiteX5" fmla="*/ 1651753 w 1835281"/>
                <a:gd name="connsiteY5" fmla="*/ 1862437 h 1862437"/>
                <a:gd name="connsiteX6" fmla="*/ 183528 w 1835281"/>
                <a:gd name="connsiteY6" fmla="*/ 1862437 h 1862437"/>
                <a:gd name="connsiteX7" fmla="*/ 0 w 1835281"/>
                <a:gd name="connsiteY7" fmla="*/ 1678909 h 1862437"/>
                <a:gd name="connsiteX8" fmla="*/ 0 w 1835281"/>
                <a:gd name="connsiteY8" fmla="*/ 183528 h 1862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281" h="1862437">
                  <a:moveTo>
                    <a:pt x="0" y="183528"/>
                  </a:moveTo>
                  <a:cubicBezTo>
                    <a:pt x="0" y="82168"/>
                    <a:pt x="82168" y="0"/>
                    <a:pt x="183528" y="0"/>
                  </a:cubicBezTo>
                  <a:lnTo>
                    <a:pt x="1651753" y="0"/>
                  </a:lnTo>
                  <a:cubicBezTo>
                    <a:pt x="1753113" y="0"/>
                    <a:pt x="1835281" y="82168"/>
                    <a:pt x="1835281" y="183528"/>
                  </a:cubicBezTo>
                  <a:lnTo>
                    <a:pt x="1835281" y="1678909"/>
                  </a:lnTo>
                  <a:cubicBezTo>
                    <a:pt x="1835281" y="1780269"/>
                    <a:pt x="1753113" y="1862437"/>
                    <a:pt x="1651753" y="1862437"/>
                  </a:cubicBezTo>
                  <a:lnTo>
                    <a:pt x="183528" y="1862437"/>
                  </a:lnTo>
                  <a:cubicBezTo>
                    <a:pt x="82168" y="1862437"/>
                    <a:pt x="0" y="1780269"/>
                    <a:pt x="0" y="1678909"/>
                  </a:cubicBezTo>
                  <a:lnTo>
                    <a:pt x="0" y="183528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1986" tIns="131986" rIns="131986" bIns="131986" numCol="1" spcCol="1270" anchor="t" anchorCtr="0">
              <a:noAutofit/>
            </a:bodyPr>
            <a:lstStyle/>
            <a:p>
              <a:pPr marL="57150" lvl="1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de-DE" sz="1100" kern="1200"/>
                <a:t>Aktuelle DWD    Normaljahr- </a:t>
              </a:r>
              <a:r>
                <a:rPr lang="de-DE" sz="1100" kern="1200" err="1"/>
                <a:t>temperaturen</a:t>
              </a:r>
              <a:endParaRPr lang="de-DE" sz="1100" kern="1200"/>
            </a:p>
            <a:p>
              <a:pPr marL="0" lvl="1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de-DE" sz="1100" kern="1200"/>
            </a:p>
            <a:p>
              <a:pPr marL="57150" lvl="1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de-DE" sz="1100" kern="1200"/>
                <a:t>Warmjahrbeschaffung</a:t>
              </a:r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583663FE-20F6-4C32-A1CE-8C901EEC09B9}"/>
                </a:ext>
              </a:extLst>
            </p:cNvPr>
            <p:cNvSpPr/>
            <p:nvPr/>
          </p:nvSpPr>
          <p:spPr>
            <a:xfrm rot="35">
              <a:off x="2445172" y="2068915"/>
              <a:ext cx="590604" cy="456931"/>
            </a:xfrm>
            <a:custGeom>
              <a:avLst/>
              <a:gdLst>
                <a:gd name="connsiteX0" fmla="*/ 0 w 590604"/>
                <a:gd name="connsiteY0" fmla="*/ 91386 h 456931"/>
                <a:gd name="connsiteX1" fmla="*/ 362139 w 590604"/>
                <a:gd name="connsiteY1" fmla="*/ 91386 h 456931"/>
                <a:gd name="connsiteX2" fmla="*/ 362139 w 590604"/>
                <a:gd name="connsiteY2" fmla="*/ 0 h 456931"/>
                <a:gd name="connsiteX3" fmla="*/ 590604 w 590604"/>
                <a:gd name="connsiteY3" fmla="*/ 228466 h 456931"/>
                <a:gd name="connsiteX4" fmla="*/ 362139 w 590604"/>
                <a:gd name="connsiteY4" fmla="*/ 456931 h 456931"/>
                <a:gd name="connsiteX5" fmla="*/ 362139 w 590604"/>
                <a:gd name="connsiteY5" fmla="*/ 365545 h 456931"/>
                <a:gd name="connsiteX6" fmla="*/ 0 w 590604"/>
                <a:gd name="connsiteY6" fmla="*/ 365545 h 456931"/>
                <a:gd name="connsiteX7" fmla="*/ 0 w 590604"/>
                <a:gd name="connsiteY7" fmla="*/ 91386 h 45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0604" h="456931">
                  <a:moveTo>
                    <a:pt x="0" y="91386"/>
                  </a:moveTo>
                  <a:lnTo>
                    <a:pt x="362139" y="91386"/>
                  </a:lnTo>
                  <a:lnTo>
                    <a:pt x="362139" y="0"/>
                  </a:lnTo>
                  <a:lnTo>
                    <a:pt x="590604" y="228466"/>
                  </a:lnTo>
                  <a:lnTo>
                    <a:pt x="362139" y="456931"/>
                  </a:lnTo>
                  <a:lnTo>
                    <a:pt x="362139" y="365545"/>
                  </a:lnTo>
                  <a:lnTo>
                    <a:pt x="0" y="365545"/>
                  </a:lnTo>
                  <a:lnTo>
                    <a:pt x="0" y="91386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-1" tIns="91385" rIns="137079" bIns="91386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900" kern="120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35291ADC-AF70-40A3-8D89-A3B71A6D69C9}"/>
                </a:ext>
              </a:extLst>
            </p:cNvPr>
            <p:cNvSpPr/>
            <p:nvPr/>
          </p:nvSpPr>
          <p:spPr>
            <a:xfrm>
              <a:off x="3280933" y="1688801"/>
              <a:ext cx="1835281" cy="1302193"/>
            </a:xfrm>
            <a:custGeom>
              <a:avLst/>
              <a:gdLst>
                <a:gd name="connsiteX0" fmla="*/ 0 w 1835281"/>
                <a:gd name="connsiteY0" fmla="*/ 104040 h 1040398"/>
                <a:gd name="connsiteX1" fmla="*/ 104040 w 1835281"/>
                <a:gd name="connsiteY1" fmla="*/ 0 h 1040398"/>
                <a:gd name="connsiteX2" fmla="*/ 1731241 w 1835281"/>
                <a:gd name="connsiteY2" fmla="*/ 0 h 1040398"/>
                <a:gd name="connsiteX3" fmla="*/ 1835281 w 1835281"/>
                <a:gd name="connsiteY3" fmla="*/ 104040 h 1040398"/>
                <a:gd name="connsiteX4" fmla="*/ 1835281 w 1835281"/>
                <a:gd name="connsiteY4" fmla="*/ 936358 h 1040398"/>
                <a:gd name="connsiteX5" fmla="*/ 1731241 w 1835281"/>
                <a:gd name="connsiteY5" fmla="*/ 1040398 h 1040398"/>
                <a:gd name="connsiteX6" fmla="*/ 104040 w 1835281"/>
                <a:gd name="connsiteY6" fmla="*/ 1040398 h 1040398"/>
                <a:gd name="connsiteX7" fmla="*/ 0 w 1835281"/>
                <a:gd name="connsiteY7" fmla="*/ 936358 h 1040398"/>
                <a:gd name="connsiteX8" fmla="*/ 0 w 1835281"/>
                <a:gd name="connsiteY8" fmla="*/ 104040 h 1040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281" h="1040398">
                  <a:moveTo>
                    <a:pt x="0" y="104040"/>
                  </a:moveTo>
                  <a:cubicBezTo>
                    <a:pt x="0" y="46580"/>
                    <a:pt x="46580" y="0"/>
                    <a:pt x="104040" y="0"/>
                  </a:cubicBezTo>
                  <a:lnTo>
                    <a:pt x="1731241" y="0"/>
                  </a:lnTo>
                  <a:cubicBezTo>
                    <a:pt x="1788701" y="0"/>
                    <a:pt x="1835281" y="46580"/>
                    <a:pt x="1835281" y="104040"/>
                  </a:cubicBezTo>
                  <a:lnTo>
                    <a:pt x="1835281" y="936358"/>
                  </a:lnTo>
                  <a:cubicBezTo>
                    <a:pt x="1835281" y="993818"/>
                    <a:pt x="1788701" y="1040398"/>
                    <a:pt x="1731241" y="1040398"/>
                  </a:cubicBezTo>
                  <a:lnTo>
                    <a:pt x="104040" y="1040398"/>
                  </a:lnTo>
                  <a:cubicBezTo>
                    <a:pt x="46580" y="1040398"/>
                    <a:pt x="0" y="993818"/>
                    <a:pt x="0" y="936358"/>
                  </a:cubicBezTo>
                  <a:lnTo>
                    <a:pt x="0" y="10404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78232" rIns="78232" bIns="388710" numCol="1" spcCol="1270" anchor="t" anchorCtr="0">
              <a:no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1300" kern="1200"/>
                <a:t>Belieferung Winter 19/20</a:t>
              </a:r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BC553FB8-2612-4819-9EB4-539FD6C14BDB}"/>
                </a:ext>
              </a:extLst>
            </p:cNvPr>
            <p:cNvSpPr/>
            <p:nvPr/>
          </p:nvSpPr>
          <p:spPr>
            <a:xfrm>
              <a:off x="3656834" y="2456686"/>
              <a:ext cx="1835281" cy="1331723"/>
            </a:xfrm>
            <a:custGeom>
              <a:avLst/>
              <a:gdLst>
                <a:gd name="connsiteX0" fmla="*/ 0 w 1835281"/>
                <a:gd name="connsiteY0" fmla="*/ 183528 h 1862437"/>
                <a:gd name="connsiteX1" fmla="*/ 183528 w 1835281"/>
                <a:gd name="connsiteY1" fmla="*/ 0 h 1862437"/>
                <a:gd name="connsiteX2" fmla="*/ 1651753 w 1835281"/>
                <a:gd name="connsiteY2" fmla="*/ 0 h 1862437"/>
                <a:gd name="connsiteX3" fmla="*/ 1835281 w 1835281"/>
                <a:gd name="connsiteY3" fmla="*/ 183528 h 1862437"/>
                <a:gd name="connsiteX4" fmla="*/ 1835281 w 1835281"/>
                <a:gd name="connsiteY4" fmla="*/ 1678909 h 1862437"/>
                <a:gd name="connsiteX5" fmla="*/ 1651753 w 1835281"/>
                <a:gd name="connsiteY5" fmla="*/ 1862437 h 1862437"/>
                <a:gd name="connsiteX6" fmla="*/ 183528 w 1835281"/>
                <a:gd name="connsiteY6" fmla="*/ 1862437 h 1862437"/>
                <a:gd name="connsiteX7" fmla="*/ 0 w 1835281"/>
                <a:gd name="connsiteY7" fmla="*/ 1678909 h 1862437"/>
                <a:gd name="connsiteX8" fmla="*/ 0 w 1835281"/>
                <a:gd name="connsiteY8" fmla="*/ 183528 h 1862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281" h="1862437">
                  <a:moveTo>
                    <a:pt x="0" y="183528"/>
                  </a:moveTo>
                  <a:cubicBezTo>
                    <a:pt x="0" y="82168"/>
                    <a:pt x="82168" y="0"/>
                    <a:pt x="183528" y="0"/>
                  </a:cubicBezTo>
                  <a:lnTo>
                    <a:pt x="1651753" y="0"/>
                  </a:lnTo>
                  <a:cubicBezTo>
                    <a:pt x="1753113" y="0"/>
                    <a:pt x="1835281" y="82168"/>
                    <a:pt x="1835281" y="183528"/>
                  </a:cubicBezTo>
                  <a:lnTo>
                    <a:pt x="1835281" y="1678909"/>
                  </a:lnTo>
                  <a:cubicBezTo>
                    <a:pt x="1835281" y="1780269"/>
                    <a:pt x="1753113" y="1862437"/>
                    <a:pt x="1651753" y="1862437"/>
                  </a:cubicBezTo>
                  <a:lnTo>
                    <a:pt x="183528" y="1862437"/>
                  </a:lnTo>
                  <a:cubicBezTo>
                    <a:pt x="82168" y="1862437"/>
                    <a:pt x="0" y="1780269"/>
                    <a:pt x="0" y="1678909"/>
                  </a:cubicBezTo>
                  <a:lnTo>
                    <a:pt x="0" y="183528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1986" tIns="131986" rIns="131986" bIns="131986" numCol="1" spcCol="1270" anchor="t" anchorCtr="0">
              <a:noAutofit/>
            </a:bodyPr>
            <a:lstStyle/>
            <a:p>
              <a:pPr marL="57150" lvl="1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de-DE" sz="1100" kern="1200"/>
                <a:t>Normjahrbeschaffung</a:t>
              </a:r>
            </a:p>
            <a:p>
              <a:pPr marL="0" lvl="1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de-DE" sz="1100" kern="1200"/>
            </a:p>
            <a:p>
              <a:pPr marL="57150" lvl="1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de-DE" sz="1100" kern="1200"/>
                <a:t>Verringerung PaR Risikoaufschlag (-&gt; Erwartungswert der Temperaturen)</a:t>
              </a: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CA096977-EE2E-46A0-9896-9E44432DD802}"/>
                </a:ext>
              </a:extLst>
            </p:cNvPr>
            <p:cNvSpPr/>
            <p:nvPr/>
          </p:nvSpPr>
          <p:spPr>
            <a:xfrm>
              <a:off x="5394437" y="2068930"/>
              <a:ext cx="589830" cy="456931"/>
            </a:xfrm>
            <a:custGeom>
              <a:avLst/>
              <a:gdLst>
                <a:gd name="connsiteX0" fmla="*/ 0 w 589830"/>
                <a:gd name="connsiteY0" fmla="*/ 91386 h 456931"/>
                <a:gd name="connsiteX1" fmla="*/ 361365 w 589830"/>
                <a:gd name="connsiteY1" fmla="*/ 91386 h 456931"/>
                <a:gd name="connsiteX2" fmla="*/ 361365 w 589830"/>
                <a:gd name="connsiteY2" fmla="*/ 0 h 456931"/>
                <a:gd name="connsiteX3" fmla="*/ 589830 w 589830"/>
                <a:gd name="connsiteY3" fmla="*/ 228466 h 456931"/>
                <a:gd name="connsiteX4" fmla="*/ 361365 w 589830"/>
                <a:gd name="connsiteY4" fmla="*/ 456931 h 456931"/>
                <a:gd name="connsiteX5" fmla="*/ 361365 w 589830"/>
                <a:gd name="connsiteY5" fmla="*/ 365545 h 456931"/>
                <a:gd name="connsiteX6" fmla="*/ 0 w 589830"/>
                <a:gd name="connsiteY6" fmla="*/ 365545 h 456931"/>
                <a:gd name="connsiteX7" fmla="*/ 0 w 589830"/>
                <a:gd name="connsiteY7" fmla="*/ 91386 h 45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9830" h="456931">
                  <a:moveTo>
                    <a:pt x="0" y="91386"/>
                  </a:moveTo>
                  <a:lnTo>
                    <a:pt x="361365" y="91386"/>
                  </a:lnTo>
                  <a:lnTo>
                    <a:pt x="361365" y="0"/>
                  </a:lnTo>
                  <a:lnTo>
                    <a:pt x="589830" y="228466"/>
                  </a:lnTo>
                  <a:lnTo>
                    <a:pt x="361365" y="456931"/>
                  </a:lnTo>
                  <a:lnTo>
                    <a:pt x="361365" y="365545"/>
                  </a:lnTo>
                  <a:lnTo>
                    <a:pt x="0" y="365545"/>
                  </a:lnTo>
                  <a:lnTo>
                    <a:pt x="0" y="91386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91386" rIns="137079" bIns="91386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900" kern="120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C91B124-8187-429D-BBE7-F49C1CF9E7C8}"/>
                </a:ext>
              </a:extLst>
            </p:cNvPr>
            <p:cNvSpPr/>
            <p:nvPr/>
          </p:nvSpPr>
          <p:spPr>
            <a:xfrm>
              <a:off x="6229103" y="1688801"/>
              <a:ext cx="1835281" cy="1302193"/>
            </a:xfrm>
            <a:custGeom>
              <a:avLst/>
              <a:gdLst>
                <a:gd name="connsiteX0" fmla="*/ 0 w 1835281"/>
                <a:gd name="connsiteY0" fmla="*/ 104040 h 1040398"/>
                <a:gd name="connsiteX1" fmla="*/ 104040 w 1835281"/>
                <a:gd name="connsiteY1" fmla="*/ 0 h 1040398"/>
                <a:gd name="connsiteX2" fmla="*/ 1731241 w 1835281"/>
                <a:gd name="connsiteY2" fmla="*/ 0 h 1040398"/>
                <a:gd name="connsiteX3" fmla="*/ 1835281 w 1835281"/>
                <a:gd name="connsiteY3" fmla="*/ 104040 h 1040398"/>
                <a:gd name="connsiteX4" fmla="*/ 1835281 w 1835281"/>
                <a:gd name="connsiteY4" fmla="*/ 936358 h 1040398"/>
                <a:gd name="connsiteX5" fmla="*/ 1731241 w 1835281"/>
                <a:gd name="connsiteY5" fmla="*/ 1040398 h 1040398"/>
                <a:gd name="connsiteX6" fmla="*/ 104040 w 1835281"/>
                <a:gd name="connsiteY6" fmla="*/ 1040398 h 1040398"/>
                <a:gd name="connsiteX7" fmla="*/ 0 w 1835281"/>
                <a:gd name="connsiteY7" fmla="*/ 936358 h 1040398"/>
                <a:gd name="connsiteX8" fmla="*/ 0 w 1835281"/>
                <a:gd name="connsiteY8" fmla="*/ 104040 h 1040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281" h="1040398">
                  <a:moveTo>
                    <a:pt x="0" y="104040"/>
                  </a:moveTo>
                  <a:cubicBezTo>
                    <a:pt x="0" y="46580"/>
                    <a:pt x="46580" y="0"/>
                    <a:pt x="104040" y="0"/>
                  </a:cubicBezTo>
                  <a:lnTo>
                    <a:pt x="1731241" y="0"/>
                  </a:lnTo>
                  <a:cubicBezTo>
                    <a:pt x="1788701" y="0"/>
                    <a:pt x="1835281" y="46580"/>
                    <a:pt x="1835281" y="104040"/>
                  </a:cubicBezTo>
                  <a:lnTo>
                    <a:pt x="1835281" y="936358"/>
                  </a:lnTo>
                  <a:cubicBezTo>
                    <a:pt x="1835281" y="993818"/>
                    <a:pt x="1788701" y="1040398"/>
                    <a:pt x="1731241" y="1040398"/>
                  </a:cubicBezTo>
                  <a:lnTo>
                    <a:pt x="104040" y="1040398"/>
                  </a:lnTo>
                  <a:cubicBezTo>
                    <a:pt x="46580" y="1040398"/>
                    <a:pt x="0" y="993818"/>
                    <a:pt x="0" y="936358"/>
                  </a:cubicBezTo>
                  <a:lnTo>
                    <a:pt x="0" y="10404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78232" rIns="78232" bIns="388710" numCol="1" spcCol="1270" anchor="t" anchorCtr="0">
              <a:no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1300" kern="1200"/>
                <a:t>Belieferung ab Januar 2020</a:t>
              </a:r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52188F6E-DBE9-4EBC-8299-57772022F6FE}"/>
                </a:ext>
              </a:extLst>
            </p:cNvPr>
            <p:cNvSpPr/>
            <p:nvPr/>
          </p:nvSpPr>
          <p:spPr>
            <a:xfrm>
              <a:off x="6605003" y="2456687"/>
              <a:ext cx="1835281" cy="2336207"/>
            </a:xfrm>
            <a:custGeom>
              <a:avLst/>
              <a:gdLst>
                <a:gd name="connsiteX0" fmla="*/ 0 w 1835281"/>
                <a:gd name="connsiteY0" fmla="*/ 183528 h 1862437"/>
                <a:gd name="connsiteX1" fmla="*/ 183528 w 1835281"/>
                <a:gd name="connsiteY1" fmla="*/ 0 h 1862437"/>
                <a:gd name="connsiteX2" fmla="*/ 1651753 w 1835281"/>
                <a:gd name="connsiteY2" fmla="*/ 0 h 1862437"/>
                <a:gd name="connsiteX3" fmla="*/ 1835281 w 1835281"/>
                <a:gd name="connsiteY3" fmla="*/ 183528 h 1862437"/>
                <a:gd name="connsiteX4" fmla="*/ 1835281 w 1835281"/>
                <a:gd name="connsiteY4" fmla="*/ 1678909 h 1862437"/>
                <a:gd name="connsiteX5" fmla="*/ 1651753 w 1835281"/>
                <a:gd name="connsiteY5" fmla="*/ 1862437 h 1862437"/>
                <a:gd name="connsiteX6" fmla="*/ 183528 w 1835281"/>
                <a:gd name="connsiteY6" fmla="*/ 1862437 h 1862437"/>
                <a:gd name="connsiteX7" fmla="*/ 0 w 1835281"/>
                <a:gd name="connsiteY7" fmla="*/ 1678909 h 1862437"/>
                <a:gd name="connsiteX8" fmla="*/ 0 w 1835281"/>
                <a:gd name="connsiteY8" fmla="*/ 183528 h 1862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281" h="1862437">
                  <a:moveTo>
                    <a:pt x="0" y="183528"/>
                  </a:moveTo>
                  <a:cubicBezTo>
                    <a:pt x="0" y="82168"/>
                    <a:pt x="82168" y="0"/>
                    <a:pt x="183528" y="0"/>
                  </a:cubicBezTo>
                  <a:lnTo>
                    <a:pt x="1651753" y="0"/>
                  </a:lnTo>
                  <a:cubicBezTo>
                    <a:pt x="1753113" y="0"/>
                    <a:pt x="1835281" y="82168"/>
                    <a:pt x="1835281" y="183528"/>
                  </a:cubicBezTo>
                  <a:lnTo>
                    <a:pt x="1835281" y="1678909"/>
                  </a:lnTo>
                  <a:cubicBezTo>
                    <a:pt x="1835281" y="1780269"/>
                    <a:pt x="1753113" y="1862437"/>
                    <a:pt x="1651753" y="1862437"/>
                  </a:cubicBezTo>
                  <a:lnTo>
                    <a:pt x="183528" y="1862437"/>
                  </a:lnTo>
                  <a:cubicBezTo>
                    <a:pt x="82168" y="1862437"/>
                    <a:pt x="0" y="1780269"/>
                    <a:pt x="0" y="1678909"/>
                  </a:cubicBezTo>
                  <a:lnTo>
                    <a:pt x="0" y="183528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1986" tIns="131986" rIns="131986" bIns="131986" numCol="1" spcCol="1270" anchor="t" anchorCtr="0">
              <a:noAutofit/>
            </a:bodyPr>
            <a:lstStyle/>
            <a:p>
              <a:pPr marL="57150" lvl="1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de-DE" sz="1100" kern="1200"/>
                <a:t>Einführung Skalierungsfaktoren zur besseren Abbildung der vergangenen, wärmeren Jahre.</a:t>
              </a:r>
            </a:p>
            <a:p>
              <a:pPr marL="0" lvl="1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de-DE" sz="1100" kern="1200"/>
            </a:p>
            <a:p>
              <a:pPr marL="57150" lvl="1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de-DE" sz="1100" kern="1200"/>
                <a:t>Ergebnis: </a:t>
              </a:r>
              <a:r>
                <a:rPr lang="de-DE" sz="1100" b="1" kern="1200"/>
                <a:t>-2,9% </a:t>
              </a:r>
              <a:r>
                <a:rPr lang="de-DE" sz="1100" kern="1200"/>
                <a:t>verringerte Mengenerwartung im Gasportfolio.</a:t>
              </a:r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28EA530-01FD-4BE0-899E-B8E376FFD747}"/>
                </a:ext>
              </a:extLst>
            </p:cNvPr>
            <p:cNvSpPr/>
            <p:nvPr/>
          </p:nvSpPr>
          <p:spPr>
            <a:xfrm rot="28934">
              <a:off x="8299858" y="2080736"/>
              <a:ext cx="499241" cy="456931"/>
            </a:xfrm>
            <a:custGeom>
              <a:avLst/>
              <a:gdLst>
                <a:gd name="connsiteX0" fmla="*/ 0 w 499241"/>
                <a:gd name="connsiteY0" fmla="*/ 91386 h 456931"/>
                <a:gd name="connsiteX1" fmla="*/ 270776 w 499241"/>
                <a:gd name="connsiteY1" fmla="*/ 91386 h 456931"/>
                <a:gd name="connsiteX2" fmla="*/ 270776 w 499241"/>
                <a:gd name="connsiteY2" fmla="*/ 0 h 456931"/>
                <a:gd name="connsiteX3" fmla="*/ 499241 w 499241"/>
                <a:gd name="connsiteY3" fmla="*/ 228466 h 456931"/>
                <a:gd name="connsiteX4" fmla="*/ 270776 w 499241"/>
                <a:gd name="connsiteY4" fmla="*/ 456931 h 456931"/>
                <a:gd name="connsiteX5" fmla="*/ 270776 w 499241"/>
                <a:gd name="connsiteY5" fmla="*/ 365545 h 456931"/>
                <a:gd name="connsiteX6" fmla="*/ 0 w 499241"/>
                <a:gd name="connsiteY6" fmla="*/ 365545 h 456931"/>
                <a:gd name="connsiteX7" fmla="*/ 0 w 499241"/>
                <a:gd name="connsiteY7" fmla="*/ 91386 h 45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241" h="456931">
                  <a:moveTo>
                    <a:pt x="0" y="91386"/>
                  </a:moveTo>
                  <a:lnTo>
                    <a:pt x="270776" y="91386"/>
                  </a:lnTo>
                  <a:lnTo>
                    <a:pt x="270776" y="0"/>
                  </a:lnTo>
                  <a:lnTo>
                    <a:pt x="499241" y="228466"/>
                  </a:lnTo>
                  <a:lnTo>
                    <a:pt x="270776" y="456931"/>
                  </a:lnTo>
                  <a:lnTo>
                    <a:pt x="270776" y="365545"/>
                  </a:lnTo>
                  <a:lnTo>
                    <a:pt x="0" y="365545"/>
                  </a:lnTo>
                  <a:lnTo>
                    <a:pt x="0" y="91386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-1" tIns="91385" rIns="137079" bIns="91386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900" kern="120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AC185678-55B6-4CB8-A4CE-DBA4E3BDC342}"/>
                </a:ext>
              </a:extLst>
            </p:cNvPr>
            <p:cNvSpPr/>
            <p:nvPr/>
          </p:nvSpPr>
          <p:spPr>
            <a:xfrm>
              <a:off x="9006315" y="1712176"/>
              <a:ext cx="1835281" cy="1302193"/>
            </a:xfrm>
            <a:custGeom>
              <a:avLst/>
              <a:gdLst>
                <a:gd name="connsiteX0" fmla="*/ 0 w 1835281"/>
                <a:gd name="connsiteY0" fmla="*/ 104040 h 1040398"/>
                <a:gd name="connsiteX1" fmla="*/ 104040 w 1835281"/>
                <a:gd name="connsiteY1" fmla="*/ 0 h 1040398"/>
                <a:gd name="connsiteX2" fmla="*/ 1731241 w 1835281"/>
                <a:gd name="connsiteY2" fmla="*/ 0 h 1040398"/>
                <a:gd name="connsiteX3" fmla="*/ 1835281 w 1835281"/>
                <a:gd name="connsiteY3" fmla="*/ 104040 h 1040398"/>
                <a:gd name="connsiteX4" fmla="*/ 1835281 w 1835281"/>
                <a:gd name="connsiteY4" fmla="*/ 936358 h 1040398"/>
                <a:gd name="connsiteX5" fmla="*/ 1731241 w 1835281"/>
                <a:gd name="connsiteY5" fmla="*/ 1040398 h 1040398"/>
                <a:gd name="connsiteX6" fmla="*/ 104040 w 1835281"/>
                <a:gd name="connsiteY6" fmla="*/ 1040398 h 1040398"/>
                <a:gd name="connsiteX7" fmla="*/ 0 w 1835281"/>
                <a:gd name="connsiteY7" fmla="*/ 936358 h 1040398"/>
                <a:gd name="connsiteX8" fmla="*/ 0 w 1835281"/>
                <a:gd name="connsiteY8" fmla="*/ 104040 h 1040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281" h="1040398">
                  <a:moveTo>
                    <a:pt x="0" y="104040"/>
                  </a:moveTo>
                  <a:cubicBezTo>
                    <a:pt x="0" y="46580"/>
                    <a:pt x="46580" y="0"/>
                    <a:pt x="104040" y="0"/>
                  </a:cubicBezTo>
                  <a:lnTo>
                    <a:pt x="1731241" y="0"/>
                  </a:lnTo>
                  <a:cubicBezTo>
                    <a:pt x="1788701" y="0"/>
                    <a:pt x="1835281" y="46580"/>
                    <a:pt x="1835281" y="104040"/>
                  </a:cubicBezTo>
                  <a:lnTo>
                    <a:pt x="1835281" y="936358"/>
                  </a:lnTo>
                  <a:cubicBezTo>
                    <a:pt x="1835281" y="993818"/>
                    <a:pt x="1788701" y="1040398"/>
                    <a:pt x="1731241" y="1040398"/>
                  </a:cubicBezTo>
                  <a:lnTo>
                    <a:pt x="104040" y="1040398"/>
                  </a:lnTo>
                  <a:cubicBezTo>
                    <a:pt x="46580" y="1040398"/>
                    <a:pt x="0" y="993818"/>
                    <a:pt x="0" y="936358"/>
                  </a:cubicBezTo>
                  <a:lnTo>
                    <a:pt x="0" y="10404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78232" rIns="78232" bIns="388710" numCol="1" spcCol="1270" anchor="t" anchorCtr="0">
              <a:no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1300" kern="1200"/>
                <a:t>Belieferung ab Januar 2021</a:t>
              </a:r>
            </a:p>
          </p:txBody>
        </p:sp>
      </p:grp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6BB22A14-6545-4953-A6D6-22EB56097789}"/>
              </a:ext>
            </a:extLst>
          </p:cNvPr>
          <p:cNvSpPr/>
          <p:nvPr/>
        </p:nvSpPr>
        <p:spPr>
          <a:xfrm>
            <a:off x="9383676" y="1864844"/>
            <a:ext cx="2406847" cy="3010465"/>
          </a:xfrm>
          <a:custGeom>
            <a:avLst/>
            <a:gdLst>
              <a:gd name="connsiteX0" fmla="*/ 0 w 1835281"/>
              <a:gd name="connsiteY0" fmla="*/ 183528 h 1862437"/>
              <a:gd name="connsiteX1" fmla="*/ 183528 w 1835281"/>
              <a:gd name="connsiteY1" fmla="*/ 0 h 1862437"/>
              <a:gd name="connsiteX2" fmla="*/ 1651753 w 1835281"/>
              <a:gd name="connsiteY2" fmla="*/ 0 h 1862437"/>
              <a:gd name="connsiteX3" fmla="*/ 1835281 w 1835281"/>
              <a:gd name="connsiteY3" fmla="*/ 183528 h 1862437"/>
              <a:gd name="connsiteX4" fmla="*/ 1835281 w 1835281"/>
              <a:gd name="connsiteY4" fmla="*/ 1678909 h 1862437"/>
              <a:gd name="connsiteX5" fmla="*/ 1651753 w 1835281"/>
              <a:gd name="connsiteY5" fmla="*/ 1862437 h 1862437"/>
              <a:gd name="connsiteX6" fmla="*/ 183528 w 1835281"/>
              <a:gd name="connsiteY6" fmla="*/ 1862437 h 1862437"/>
              <a:gd name="connsiteX7" fmla="*/ 0 w 1835281"/>
              <a:gd name="connsiteY7" fmla="*/ 1678909 h 1862437"/>
              <a:gd name="connsiteX8" fmla="*/ 0 w 1835281"/>
              <a:gd name="connsiteY8" fmla="*/ 183528 h 186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35281" h="1862437">
                <a:moveTo>
                  <a:pt x="0" y="183528"/>
                </a:moveTo>
                <a:cubicBezTo>
                  <a:pt x="0" y="82168"/>
                  <a:pt x="82168" y="0"/>
                  <a:pt x="183528" y="0"/>
                </a:cubicBezTo>
                <a:lnTo>
                  <a:pt x="1651753" y="0"/>
                </a:lnTo>
                <a:cubicBezTo>
                  <a:pt x="1753113" y="0"/>
                  <a:pt x="1835281" y="82168"/>
                  <a:pt x="1835281" y="183528"/>
                </a:cubicBezTo>
                <a:lnTo>
                  <a:pt x="1835281" y="1678909"/>
                </a:lnTo>
                <a:cubicBezTo>
                  <a:pt x="1835281" y="1780269"/>
                  <a:pt x="1753113" y="1862437"/>
                  <a:pt x="1651753" y="1862437"/>
                </a:cubicBezTo>
                <a:lnTo>
                  <a:pt x="183528" y="1862437"/>
                </a:lnTo>
                <a:cubicBezTo>
                  <a:pt x="82168" y="1862437"/>
                  <a:pt x="0" y="1780269"/>
                  <a:pt x="0" y="1678909"/>
                </a:cubicBezTo>
                <a:lnTo>
                  <a:pt x="0" y="183528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1986" tIns="131986" rIns="131986" bIns="131986" numCol="1" spcCol="1270" anchor="t" anchorCtr="0">
            <a:noAutofit/>
          </a:bodyPr>
          <a:lstStyle/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 sz="1100"/>
              <a:t>Synchronisierung Strom- und Gasstrategie</a:t>
            </a:r>
          </a:p>
          <a:p>
            <a:pPr marL="0" lvl="1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de-DE" sz="1100"/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 sz="1100"/>
              <a:t>Neuentwicklung eigener Temperaturnormal-jahre auf Basis der letzten 15 Jahre.</a:t>
            </a:r>
          </a:p>
          <a:p>
            <a:pPr marL="0" lvl="1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de-DE" sz="1100"/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 sz="1100"/>
              <a:t>Noch stärkere Berücksichtigung der vergangenen, wärmeren Jahre verursacht weitere </a:t>
            </a:r>
            <a:r>
              <a:rPr lang="de-DE" sz="1100" b="1"/>
              <a:t>3,2%</a:t>
            </a:r>
            <a:r>
              <a:rPr lang="de-DE" sz="1100"/>
              <a:t> verringerte Absatzerwartung.</a:t>
            </a:r>
          </a:p>
          <a:p>
            <a:pPr marL="0" lvl="1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de-DE" sz="1100"/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de-DE" sz="1100"/>
              <a:t>Erstmals progressiver Einbezug Klimawandel durch Verwendung DWD Temperaturszenario für 2045.</a:t>
            </a: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endParaRPr lang="de-DE" sz="1100" kern="1200"/>
          </a:p>
        </p:txBody>
      </p:sp>
      <p:graphicFrame>
        <p:nvGraphicFramePr>
          <p:cNvPr id="28" name="Diagramm 1">
            <a:extLst>
              <a:ext uri="{FF2B5EF4-FFF2-40B4-BE49-F238E27FC236}">
                <a16:creationId xmlns:a16="http://schemas.microsoft.com/office/drawing/2014/main" id="{AA1E595C-C5C3-48A6-8461-E781E830155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9975920"/>
              </p:ext>
            </p:extLst>
          </p:nvPr>
        </p:nvGraphicFramePr>
        <p:xfrm>
          <a:off x="163903" y="3235612"/>
          <a:ext cx="11561635" cy="35188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663424-A083-484D-8200-29B378F866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12BE01CA-002E-47F6-8E32-7B487AD51ED1}" type="datetime1">
              <a:rPr lang="de-DE" smtClean="0"/>
              <a:t>2022-01-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7505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_G1w0KT4iO0hHm9COj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_G1w0KT4iO0hHm9COjeQ"/>
</p:tagLst>
</file>

<file path=ppt/theme/theme1.xml><?xml version="1.0" encoding="utf-8"?>
<a:theme xmlns:a="http://schemas.openxmlformats.org/drawingml/2006/main" name="Smoke_LichtBlick_Template_2020">
  <a:themeElements>
    <a:clrScheme name="Smoke_LichtBlick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465B68"/>
      </a:accent1>
      <a:accent2>
        <a:srgbClr val="313C49"/>
      </a:accent2>
      <a:accent3>
        <a:srgbClr val="7390A1"/>
      </a:accent3>
      <a:accent4>
        <a:srgbClr val="F1F4F6"/>
      </a:accent4>
      <a:accent5>
        <a:srgbClr val="E6E6E6"/>
      </a:accent5>
      <a:accent6>
        <a:srgbClr val="B2B2B2"/>
      </a:accent6>
      <a:hlink>
        <a:srgbClr val="E6E6E6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044C27C9-68D0-4512-BF2A-9E6368743E68}"/>
    </a:ext>
  </a:extLst>
</a:theme>
</file>

<file path=ppt/theme/theme2.xml><?xml version="1.0" encoding="utf-8"?>
<a:theme xmlns:a="http://schemas.openxmlformats.org/drawingml/2006/main" name="Berry_LichtBlick_Template_2020">
  <a:themeElements>
    <a:clrScheme name="Custom 1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D4496A"/>
      </a:accent1>
      <a:accent2>
        <a:srgbClr val="952741"/>
      </a:accent2>
      <a:accent3>
        <a:srgbClr val="E8A6B6"/>
      </a:accent3>
      <a:accent4>
        <a:srgbClr val="FDF6F8"/>
      </a:accent4>
      <a:accent5>
        <a:srgbClr val="E6E6E6"/>
      </a:accent5>
      <a:accent6>
        <a:srgbClr val="B2B2B2"/>
      </a:accent6>
      <a:hlink>
        <a:srgbClr val="B2B2B2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EC76B6A2-CFEF-468F-A488-BD1F9ADEF577}"/>
    </a:ext>
  </a:extLst>
</a:theme>
</file>

<file path=ppt/theme/theme3.xml><?xml version="1.0" encoding="utf-8"?>
<a:theme xmlns:a="http://schemas.openxmlformats.org/drawingml/2006/main" name="Aqua_LichtBlick_Template_2020">
  <a:themeElements>
    <a:clrScheme name="Custom 2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0BA3C1"/>
      </a:accent1>
      <a:accent2>
        <a:srgbClr val="087A91"/>
      </a:accent2>
      <a:accent3>
        <a:srgbClr val="75C1D0"/>
      </a:accent3>
      <a:accent4>
        <a:srgbClr val="F1F9FA"/>
      </a:accent4>
      <a:accent5>
        <a:srgbClr val="E6E6E6"/>
      </a:accent5>
      <a:accent6>
        <a:srgbClr val="B2B2B2"/>
      </a:accent6>
      <a:hlink>
        <a:srgbClr val="B2B2B2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410C14E0-2DFF-4CED-BC1A-42EBBF7C9E1C}"/>
    </a:ext>
  </a:extLst>
</a:theme>
</file>

<file path=ppt/theme/theme4.xml><?xml version="1.0" encoding="utf-8"?>
<a:theme xmlns:a="http://schemas.openxmlformats.org/drawingml/2006/main" name="Grün_LichtBlick_Template_2020">
  <a:themeElements>
    <a:clrScheme name="Custom 3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077144"/>
      </a:accent1>
      <a:accent2>
        <a:srgbClr val="054D2E"/>
      </a:accent2>
      <a:accent3>
        <a:srgbClr val="7CC199"/>
      </a:accent3>
      <a:accent4>
        <a:srgbClr val="F2F9F5"/>
      </a:accent4>
      <a:accent5>
        <a:srgbClr val="E6E6E6"/>
      </a:accent5>
      <a:accent6>
        <a:srgbClr val="B2B2B2"/>
      </a:accent6>
      <a:hlink>
        <a:srgbClr val="B2B2B2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8510FF94-ADB9-4DE0-8BF6-A111B594D94C}"/>
    </a:ext>
  </a:extLst>
</a:theme>
</file>

<file path=ppt/theme/theme5.xml><?xml version="1.0" encoding="utf-8"?>
<a:theme xmlns:a="http://schemas.openxmlformats.org/drawingml/2006/main" name="Moss_LichtBlick_Template_2020">
  <a:themeElements>
    <a:clrScheme name="Moss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658A7C"/>
      </a:accent1>
      <a:accent2>
        <a:srgbClr val="3A5047"/>
      </a:accent2>
      <a:accent3>
        <a:srgbClr val="9EB8AE"/>
      </a:accent3>
      <a:accent4>
        <a:srgbClr val="F5F8F7"/>
      </a:accent4>
      <a:accent5>
        <a:srgbClr val="E6E6E6"/>
      </a:accent5>
      <a:accent6>
        <a:srgbClr val="B2B2B2"/>
      </a:accent6>
      <a:hlink>
        <a:srgbClr val="E6E6E6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DC774BBB-5BD2-4EDB-B168-87E7EF27B3CB}"/>
    </a:ext>
  </a:extLst>
</a:theme>
</file>

<file path=ppt/theme/theme6.xml><?xml version="1.0" encoding="utf-8"?>
<a:theme xmlns:a="http://schemas.openxmlformats.org/drawingml/2006/main" name="1_Smoke_LichtBlick_Template_2020">
  <a:themeElements>
    <a:clrScheme name="Smoke_LichtBlick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465B68"/>
      </a:accent1>
      <a:accent2>
        <a:srgbClr val="313C49"/>
      </a:accent2>
      <a:accent3>
        <a:srgbClr val="7390A1"/>
      </a:accent3>
      <a:accent4>
        <a:srgbClr val="F1F4F6"/>
      </a:accent4>
      <a:accent5>
        <a:srgbClr val="E6E6E6"/>
      </a:accent5>
      <a:accent6>
        <a:srgbClr val="B2B2B2"/>
      </a:accent6>
      <a:hlink>
        <a:srgbClr val="E6E6E6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044C27C9-68D0-4512-BF2A-9E6368743E68}"/>
    </a:ext>
  </a:extLst>
</a:theme>
</file>

<file path=ppt/theme/theme7.xml><?xml version="1.0" encoding="utf-8"?>
<a:theme xmlns:a="http://schemas.openxmlformats.org/drawingml/2006/main" name="Office">
  <a:themeElements>
    <a:clrScheme name="LichtBlick 2019">
      <a:dk1>
        <a:srgbClr val="4D4D4D"/>
      </a:dk1>
      <a:lt1>
        <a:srgbClr val="FFFFFF"/>
      </a:lt1>
      <a:dk2>
        <a:srgbClr val="203F99"/>
      </a:dk2>
      <a:lt2>
        <a:srgbClr val="FFFFFF"/>
      </a:lt2>
      <a:accent1>
        <a:srgbClr val="203F99"/>
      </a:accent1>
      <a:accent2>
        <a:srgbClr val="F5881D"/>
      </a:accent2>
      <a:accent3>
        <a:srgbClr val="30762A"/>
      </a:accent3>
      <a:accent4>
        <a:srgbClr val="A7AAAD"/>
      </a:accent4>
      <a:accent5>
        <a:srgbClr val="127DCD"/>
      </a:accent5>
      <a:accent6>
        <a:srgbClr val="DCDCDC"/>
      </a:accent6>
      <a:hlink>
        <a:srgbClr val="203F99"/>
      </a:hlink>
      <a:folHlink>
        <a:srgbClr val="4D4D4D"/>
      </a:folHlink>
    </a:clrScheme>
    <a:fontScheme name="LichtBlick 2019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">
  <a:themeElements>
    <a:clrScheme name="LichtBlick 2019">
      <a:dk1>
        <a:srgbClr val="4D4D4D"/>
      </a:dk1>
      <a:lt1>
        <a:srgbClr val="FFFFFF"/>
      </a:lt1>
      <a:dk2>
        <a:srgbClr val="203F99"/>
      </a:dk2>
      <a:lt2>
        <a:srgbClr val="FFFFFF"/>
      </a:lt2>
      <a:accent1>
        <a:srgbClr val="203F99"/>
      </a:accent1>
      <a:accent2>
        <a:srgbClr val="F5881D"/>
      </a:accent2>
      <a:accent3>
        <a:srgbClr val="30762A"/>
      </a:accent3>
      <a:accent4>
        <a:srgbClr val="A7AAAD"/>
      </a:accent4>
      <a:accent5>
        <a:srgbClr val="127DCD"/>
      </a:accent5>
      <a:accent6>
        <a:srgbClr val="DCDCDC"/>
      </a:accent6>
      <a:hlink>
        <a:srgbClr val="203F99"/>
      </a:hlink>
      <a:folHlink>
        <a:srgbClr val="4D4D4D"/>
      </a:folHlink>
    </a:clrScheme>
    <a:fontScheme name="LichtBlick 2019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777D23055C419408870B09E00DE41E1" ma:contentTypeVersion="11" ma:contentTypeDescription="Ein neues Dokument erstellen." ma:contentTypeScope="" ma:versionID="57d721f04dbde67e4dc12e6bb5c4cc01">
  <xsd:schema xmlns:xsd="http://www.w3.org/2001/XMLSchema" xmlns:xs="http://www.w3.org/2001/XMLSchema" xmlns:p="http://schemas.microsoft.com/office/2006/metadata/properties" xmlns:ns2="9c36172c-1e76-4b5d-9cf8-e6ea08d4a28a" xmlns:ns3="5810f87c-5167-4216-adbc-6c901e337368" targetNamespace="http://schemas.microsoft.com/office/2006/metadata/properties" ma:root="true" ma:fieldsID="e1305c8ece917a5d62aef8b22c857bfa" ns2:_="" ns3:_="">
    <xsd:import namespace="9c36172c-1e76-4b5d-9cf8-e6ea08d4a28a"/>
    <xsd:import namespace="5810f87c-5167-4216-adbc-6c901e33736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36172c-1e76-4b5d-9cf8-e6ea08d4a28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10f87c-5167-4216-adbc-6c901e33736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529CCBC-F3CB-41EE-8199-7E8DFA5D884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877900-3A96-462E-9D1F-6B1F8C911CBB}">
  <ds:schemaRefs>
    <ds:schemaRef ds:uri="5810f87c-5167-4216-adbc-6c901e337368"/>
    <ds:schemaRef ds:uri="9c36172c-1e76-4b5d-9cf8-e6ea08d4a28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6779671-A497-4CF7-942E-A9D832018801}">
  <ds:schemaRefs>
    <ds:schemaRef ds:uri="5810f87c-5167-4216-adbc-6c901e337368"/>
    <ds:schemaRef ds:uri="9c36172c-1e76-4b5d-9cf8-e6ea08d4a28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88</Words>
  <Application>Microsoft Office PowerPoint</Application>
  <PresentationFormat>Widescreen</PresentationFormat>
  <Paragraphs>62</Paragraphs>
  <Slides>4</Slides>
  <Notes>4</Notes>
  <HiddenSlides>1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9" baseType="lpstr">
      <vt:lpstr>Arial</vt:lpstr>
      <vt:lpstr>Calibri</vt:lpstr>
      <vt:lpstr>Franklin Gothic Book</vt:lpstr>
      <vt:lpstr>Franklin Gothic Medium</vt:lpstr>
      <vt:lpstr>Inter</vt:lpstr>
      <vt:lpstr>Inter Semi Bold</vt:lpstr>
      <vt:lpstr>Officina Sans ITC Pro Medium</vt:lpstr>
      <vt:lpstr>Symbol</vt:lpstr>
      <vt:lpstr>Smoke_LichtBlick_Template_2020</vt:lpstr>
      <vt:lpstr>Berry_LichtBlick_Template_2020</vt:lpstr>
      <vt:lpstr>Aqua_LichtBlick_Template_2020</vt:lpstr>
      <vt:lpstr>Grün_LichtBlick_Template_2020</vt:lpstr>
      <vt:lpstr>Moss_LichtBlick_Template_2020</vt:lpstr>
      <vt:lpstr>1_Smoke_LichtBlick_Template_2020</vt:lpstr>
      <vt:lpstr>think-cell Folie</vt:lpstr>
      <vt:lpstr>In Focus:  Weather effects Dec</vt:lpstr>
      <vt:lpstr>Temperature below hedged Normjahr</vt:lpstr>
      <vt:lpstr>P2H portfolio for December</vt:lpstr>
      <vt:lpstr>Reducing volume mismatch: chronology of temperature strateg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eter Backeberg</dc:creator>
  <cp:lastModifiedBy>Ruud Wijtvliet</cp:lastModifiedBy>
  <cp:revision>1</cp:revision>
  <cp:lastPrinted>2020-09-07T12:37:18Z</cp:lastPrinted>
  <dcterms:created xsi:type="dcterms:W3CDTF">2019-04-02T12:41:47Z</dcterms:created>
  <dcterms:modified xsi:type="dcterms:W3CDTF">2022-01-12T13:33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77D23055C419408870B09E00DE41E1</vt:lpwstr>
  </property>
</Properties>
</file>